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0"/>
  </p:notesMasterIdLst>
  <p:handoutMasterIdLst>
    <p:handoutMasterId r:id="rId41"/>
  </p:handoutMasterIdLst>
  <p:sldIdLst>
    <p:sldId id="969" r:id="rId2"/>
    <p:sldId id="939" r:id="rId3"/>
    <p:sldId id="946" r:id="rId4"/>
    <p:sldId id="947" r:id="rId5"/>
    <p:sldId id="948" r:id="rId6"/>
    <p:sldId id="956" r:id="rId7"/>
    <p:sldId id="957" r:id="rId8"/>
    <p:sldId id="951" r:id="rId9"/>
    <p:sldId id="952" r:id="rId10"/>
    <p:sldId id="953" r:id="rId11"/>
    <p:sldId id="955" r:id="rId12"/>
    <p:sldId id="958" r:id="rId13"/>
    <p:sldId id="962" r:id="rId14"/>
    <p:sldId id="982" r:id="rId15"/>
    <p:sldId id="983" r:id="rId16"/>
    <p:sldId id="1000" r:id="rId17"/>
    <p:sldId id="1001" r:id="rId18"/>
    <p:sldId id="984" r:id="rId19"/>
    <p:sldId id="985" r:id="rId20"/>
    <p:sldId id="986" r:id="rId21"/>
    <p:sldId id="987" r:id="rId22"/>
    <p:sldId id="988" r:id="rId23"/>
    <p:sldId id="1008" r:id="rId24"/>
    <p:sldId id="989" r:id="rId25"/>
    <p:sldId id="1004" r:id="rId26"/>
    <p:sldId id="1005" r:id="rId27"/>
    <p:sldId id="1006" r:id="rId28"/>
    <p:sldId id="1007" r:id="rId29"/>
    <p:sldId id="992" r:id="rId30"/>
    <p:sldId id="993" r:id="rId31"/>
    <p:sldId id="995" r:id="rId32"/>
    <p:sldId id="997" r:id="rId33"/>
    <p:sldId id="998" r:id="rId34"/>
    <p:sldId id="999" r:id="rId35"/>
    <p:sldId id="1002" r:id="rId36"/>
    <p:sldId id="971" r:id="rId37"/>
    <p:sldId id="1011" r:id="rId38"/>
    <p:sldId id="1010" r:id="rId39"/>
  </p:sldIdLst>
  <p:sldSz cx="12192000" cy="6858000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101">
          <p15:clr>
            <a:srgbClr val="A4A3A4"/>
          </p15:clr>
        </p15:guide>
        <p15:guide id="3" orient="horz" pos="396">
          <p15:clr>
            <a:srgbClr val="A4A3A4"/>
          </p15:clr>
        </p15:guide>
        <p15:guide id="4" orient="horz" pos="188">
          <p15:clr>
            <a:srgbClr val="A4A3A4"/>
          </p15:clr>
        </p15:guide>
        <p15:guide id="5" orient="horz" pos="245">
          <p15:clr>
            <a:srgbClr val="A4A3A4"/>
          </p15:clr>
        </p15:guide>
        <p15:guide id="6" pos="151">
          <p15:clr>
            <a:srgbClr val="A4A3A4"/>
          </p15:clr>
        </p15:guide>
        <p15:guide id="7" pos="7126">
          <p15:clr>
            <a:srgbClr val="A4A3A4"/>
          </p15:clr>
        </p15:guide>
        <p15:guide id="8" pos="4770">
          <p15:clr>
            <a:srgbClr val="A4A3A4"/>
          </p15:clr>
        </p15:guide>
        <p15:guide id="9" pos="1504">
          <p15:clr>
            <a:srgbClr val="A4A3A4"/>
          </p15:clr>
        </p15:guide>
        <p15:guide id="10" pos="125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ашкина Екатерина Борисовна" initials="АЕБ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66"/>
    <a:srgbClr val="79BFD5"/>
    <a:srgbClr val="40A7E1"/>
    <a:srgbClr val="262626"/>
    <a:srgbClr val="F7FCFF"/>
    <a:srgbClr val="D4E5F4"/>
    <a:srgbClr val="D0E3F4"/>
    <a:srgbClr val="DEEBF7"/>
    <a:srgbClr val="C8E5EE"/>
    <a:srgbClr val="1C7B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62" autoAdjust="0"/>
    <p:restoredTop sz="99429" autoAdjust="0"/>
  </p:normalViewPr>
  <p:slideViewPr>
    <p:cSldViewPr snapToGrid="0">
      <p:cViewPr>
        <p:scale>
          <a:sx n="121" d="100"/>
          <a:sy n="121" d="100"/>
        </p:scale>
        <p:origin x="-102" y="-72"/>
      </p:cViewPr>
      <p:guideLst>
        <p:guide orient="horz" pos="2160"/>
        <p:guide orient="horz" pos="101"/>
        <p:guide orient="horz" pos="396"/>
        <p:guide orient="horz" pos="188"/>
        <p:guide orient="horz" pos="245"/>
        <p:guide pos="151"/>
        <p:guide pos="7126"/>
        <p:guide pos="4770"/>
        <p:guide pos="1504"/>
        <p:guide pos="125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-757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commentAuthors" Target="comment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6298" cy="5425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180"/>
            </a:lvl1pPr>
          </a:lstStyle>
          <a:p>
            <a:endParaRPr lang="ru-RU">
              <a:latin typeface="Arial" panose="020B0604020202020204" pitchFamily="34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5134" y="0"/>
            <a:ext cx="2926298" cy="5425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180"/>
            </a:lvl1pPr>
          </a:lstStyle>
          <a:p>
            <a:fld id="{96285ADB-1465-4FCF-8D1B-E067E37D3CEE}" type="datetimeFigureOut">
              <a:rPr lang="ru-RU" smtClean="0">
                <a:latin typeface="Arial" panose="020B0604020202020204" pitchFamily="34" charset="0"/>
              </a:rPr>
              <a:t>17.10.2022</a:t>
            </a:fld>
            <a:endParaRPr lang="ru-RU">
              <a:latin typeface="Arial" panose="020B0604020202020204" pitchFamily="34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10271621"/>
            <a:ext cx="2926298" cy="5425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80"/>
            </a:lvl1pPr>
          </a:lstStyle>
          <a:p>
            <a:endParaRPr lang="ru-RU">
              <a:latin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5134" y="10271621"/>
            <a:ext cx="2926298" cy="5425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180"/>
            </a:lvl1pPr>
          </a:lstStyle>
          <a:p>
            <a:fld id="{F7A9B2AF-2D09-4280-84D1-4F6D53786F2B}" type="slidenum">
              <a:rPr lang="ru-RU" smtClean="0">
                <a:latin typeface="Arial" panose="020B0604020202020204" pitchFamily="34" charset="0"/>
              </a:rPr>
              <a:t>‹#›</a:t>
            </a:fld>
            <a:endParaRPr lang="ru-RU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2269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BF8789-1979-4371-9085-ABA0C510A7FF}" type="datetimeFigureOut">
              <a:rPr lang="ru-RU" smtClean="0"/>
              <a:t>17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79437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3630" cy="539503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0546" y="0"/>
            <a:ext cx="2923630" cy="539503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17.10.2022</a:t>
            </a:fld>
            <a:endParaRPr lang="ru-RU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10</a:t>
            </a:fld>
            <a:endParaRPr lang="ru-RU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11</a:t>
            </a:fld>
            <a:endParaRPr lang="ru-RU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12</a:t>
            </a:fld>
            <a:endParaRPr lang="ru-RU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13</a:t>
            </a:fld>
            <a:endParaRPr lang="ru-RU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14</a:t>
            </a:fld>
            <a:endParaRPr lang="ru-RU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15</a:t>
            </a:fld>
            <a:endParaRPr lang="ru-RU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16</a:t>
            </a:fld>
            <a:endParaRPr lang="ru-RU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17</a:t>
            </a:fld>
            <a:endParaRPr lang="ru-RU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18</a:t>
            </a:fld>
            <a:endParaRPr lang="ru-RU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19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2</a:t>
            </a:fld>
            <a:endParaRPr lang="ru-RU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20</a:t>
            </a:fld>
            <a:endParaRPr lang="ru-RU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21</a:t>
            </a:fld>
            <a:endParaRPr lang="ru-RU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22</a:t>
            </a:fld>
            <a:endParaRPr lang="ru-RU" dirty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23</a:t>
            </a:fld>
            <a:endParaRPr lang="ru-RU" dirty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24</a:t>
            </a:fld>
            <a:endParaRPr lang="ru-RU"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25</a:t>
            </a:fld>
            <a:endParaRPr lang="ru-RU"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26</a:t>
            </a:fld>
            <a:endParaRPr lang="ru-RU" dirty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27</a:t>
            </a:fld>
            <a:endParaRPr lang="ru-RU" dirty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28</a:t>
            </a:fld>
            <a:endParaRPr lang="ru-RU" dirty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35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3</a:t>
            </a:fld>
            <a:endParaRPr lang="ru-RU" dirty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36</a:t>
            </a:fld>
            <a:endParaRPr lang="ru-RU" dirty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37</a:t>
            </a:fld>
            <a:endParaRPr lang="ru-RU"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17.10.2022</a:t>
            </a:fld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6</a:t>
            </a:fld>
            <a:endParaRPr 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7</a:t>
            </a:fld>
            <a:endParaRPr lang="ru-RU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8</a:t>
            </a:fld>
            <a:endParaRPr lang="ru-RU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9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12700" imgH="12700" progId="TCLayout.ActiveDocument.1">
                  <p:embed/>
                </p:oleObj>
              </mc:Choice>
              <mc:Fallback>
                <p:oleObj name="Слайд think-cell" r:id="rId4" imgW="12700" imgH="1270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bg>
      <p:bgPr>
        <a:solidFill>
          <a:srgbClr val="233C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0725" y="6126916"/>
            <a:ext cx="1631739" cy="469002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>
            <a:fillRect/>
          </a:stretch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>
            <a:fillRect/>
          </a:stretch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/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8" name="Текст 1"/>
          <p:cNvSpPr txBox="1"/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700" kern="1200">
                <a:solidFill>
                  <a:srgbClr val="333333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bg>
      <p:bgPr>
        <a:solidFill>
          <a:srgbClr val="233C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52446" r="-4816" b="9870"/>
          <a:stretch>
            <a:fillRect/>
          </a:stretch>
        </p:blipFill>
        <p:spPr>
          <a:xfrm>
            <a:off x="-1" y="-453126"/>
            <a:ext cx="3585307" cy="551739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2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>
            <a:fillRect/>
          </a:stretch>
        </p:blipFill>
        <p:spPr>
          <a:xfrm>
            <a:off x="8575696" y="910724"/>
            <a:ext cx="3616304" cy="59472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l="1834" r="1834" b="17506"/>
          <a:stretch>
            <a:fillRect/>
          </a:stretch>
        </p:blipFill>
        <p:spPr>
          <a:xfrm>
            <a:off x="9892330" y="6126916"/>
            <a:ext cx="2112345" cy="482432"/>
          </a:xfrm>
          <a:prstGeom prst="rect">
            <a:avLst/>
          </a:prstGeom>
        </p:spPr>
      </p:pic>
      <p:sp>
        <p:nvSpPr>
          <p:cNvPr id="8" name="Прямоугольник 7"/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13" name="Текст 1"/>
          <p:cNvSpPr txBox="1"/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700" kern="1200">
                <a:solidFill>
                  <a:srgbClr val="333333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>
            <a:fillRect/>
          </a:stretch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>
            <a:fillRect/>
          </a:stretch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10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10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808523F2-53FE-42F4-86B8-4598D2998874}" type="datetimeFigureOut">
              <a:rPr lang="ru-RU" smtClean="0"/>
              <a:t>1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1" y="0"/>
            <a:ext cx="1757966" cy="64027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7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9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2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3" Type="http://schemas.openxmlformats.org/officeDocument/2006/relationships/image" Target="../media/image9.emf"/><Relationship Id="rId7" Type="http://schemas.openxmlformats.org/officeDocument/2006/relationships/image" Target="../media/image47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6.png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6" Type="http://schemas.openxmlformats.org/officeDocument/2006/relationships/hyperlink" Target="mailto:prosv@prosv.ru" TargetMode="External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image" Target="../media/image9.emf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3.jpeg"/><Relationship Id="rId5" Type="http://schemas.openxmlformats.org/officeDocument/2006/relationships/image" Target="../media/image52.png"/><Relationship Id="rId4" Type="http://schemas.openxmlformats.org/officeDocument/2006/relationships/image" Target="../media/image51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1.jpeg"/><Relationship Id="rId3" Type="http://schemas.openxmlformats.org/officeDocument/2006/relationships/image" Target="../media/image9.emf"/><Relationship Id="rId7" Type="http://schemas.openxmlformats.org/officeDocument/2006/relationships/hyperlink" Target="https://shop.prosv.ru/katalog#/orderby=5&amp;sFilters=4!2304;13!17879;" TargetMode="External"/><Relationship Id="rId12" Type="http://schemas.openxmlformats.org/officeDocument/2006/relationships/image" Target="../media/image30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7.GIF"/><Relationship Id="rId11" Type="http://schemas.openxmlformats.org/officeDocument/2006/relationships/image" Target="../media/image16.jpeg"/><Relationship Id="rId5" Type="http://schemas.openxmlformats.org/officeDocument/2006/relationships/image" Target="../media/image56.jpeg"/><Relationship Id="rId10" Type="http://schemas.openxmlformats.org/officeDocument/2006/relationships/image" Target="../media/image60.jpeg"/><Relationship Id="rId4" Type="http://schemas.openxmlformats.org/officeDocument/2006/relationships/hyperlink" Target="https://catalog.prosv.ru/attachment/47002d34f608698cb718a303b7896aad2acf2486.pdf" TargetMode="External"/><Relationship Id="rId9" Type="http://schemas.openxmlformats.org/officeDocument/2006/relationships/image" Target="../media/image59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9.emf"/><Relationship Id="rId7" Type="http://schemas.openxmlformats.org/officeDocument/2006/relationships/image" Target="../media/image63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2.GIF"/><Relationship Id="rId5" Type="http://schemas.openxmlformats.org/officeDocument/2006/relationships/image" Target="../media/image58.png"/><Relationship Id="rId4" Type="http://schemas.openxmlformats.org/officeDocument/2006/relationships/hyperlink" Target="https://shop.prosv.ru/katalog#/orderby=5&amp;sFilters=13!17940;" TargetMode="Externa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emf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Relationship Id="rId9" Type="http://schemas.openxmlformats.org/officeDocument/2006/relationships/image" Target="../media/image9.emf"/></Relationships>
</file>

<file path=ppt/slides/_rels/slide29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77.GIF"/><Relationship Id="rId3" Type="http://schemas.openxmlformats.org/officeDocument/2006/relationships/image" Target="../media/image71.png"/><Relationship Id="rId7" Type="http://schemas.openxmlformats.org/officeDocument/2006/relationships/image" Target="../media/image73.png"/><Relationship Id="rId12" Type="http://schemas.openxmlformats.org/officeDocument/2006/relationships/image" Target="../media/image76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11" Type="http://schemas.openxmlformats.org/officeDocument/2006/relationships/image" Target="../media/image75.png"/><Relationship Id="rId5" Type="http://schemas.openxmlformats.org/officeDocument/2006/relationships/image" Target="../media/image72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7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7" Type="http://schemas.openxmlformats.org/officeDocument/2006/relationships/image" Target="../media/image8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5.png"/><Relationship Id="rId5" Type="http://schemas.openxmlformats.org/officeDocument/2006/relationships/hyperlink" Target="https://educont.ru/" TargetMode="External"/><Relationship Id="rId4" Type="http://schemas.openxmlformats.org/officeDocument/2006/relationships/image" Target="../media/image7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emf"/><Relationship Id="rId4" Type="http://schemas.openxmlformats.org/officeDocument/2006/relationships/image" Target="../media/image8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9.GIF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GIF"/><Relationship Id="rId3" Type="http://schemas.openxmlformats.org/officeDocument/2006/relationships/slideLayout" Target="../slideLayouts/slideLayout15.xml"/><Relationship Id="rId7" Type="http://schemas.openxmlformats.org/officeDocument/2006/relationships/hyperlink" Target="https://shop.prosv.ru/formirovanie-funkcionalnoj-gramotnosti-sbornik-zadach-po-russkomu-yazyku-dlya-8-11-klassov2781" TargetMode="Externa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7.emf"/><Relationship Id="rId11" Type="http://schemas.openxmlformats.org/officeDocument/2006/relationships/image" Target="../media/image91.png"/><Relationship Id="rId5" Type="http://schemas.openxmlformats.org/officeDocument/2006/relationships/oleObject" Target="../embeddings/oleObject3.bin"/><Relationship Id="rId10" Type="http://schemas.openxmlformats.org/officeDocument/2006/relationships/hyperlink" Target="mailto:OPlechova@prosv.ru" TargetMode="External"/><Relationship Id="rId4" Type="http://schemas.openxmlformats.org/officeDocument/2006/relationships/notesSlide" Target="../notesSlides/notesSlide32.xml"/><Relationship Id="rId9" Type="http://schemas.openxmlformats.org/officeDocument/2006/relationships/hyperlink" Target="mailto:vopros@prosv.ru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7" Type="http://schemas.openxmlformats.org/officeDocument/2006/relationships/image" Target="../media/image2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7" r="3395" b="1697"/>
          <a:stretch>
            <a:fillRect/>
          </a:stretch>
        </p:blipFill>
        <p:spPr>
          <a:xfrm>
            <a:off x="305" y="0"/>
            <a:ext cx="12192000" cy="6858000"/>
          </a:xfrm>
          <a:prstGeom prst="rect">
            <a:avLst/>
          </a:prstGeom>
        </p:spPr>
      </p:pic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9525" imgH="9525" progId="TCLayout.ActiveDocument.1">
                  <p:embed/>
                </p:oleObj>
              </mc:Choice>
              <mc:Fallback>
                <p:oleObj name="Слайд think-cell" r:id="rId6" imgW="9525" imgH="9525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5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79425" y="5782110"/>
            <a:ext cx="592137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</a:rPr>
              <a:t>Все права защищены. Никакая часть презентации не может быть воспроизведена в какой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</a:rPr>
              <a:t>бы то ни было форме и какими бы то ни было средствами, включая размещение в Интернете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</a:rPr>
              <a:t>и в корпоративных сетях, а также запись в память ЭВМ,  для частного или публичного использования,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</a:rPr>
              <a:t>без письменного разрешения владельца авторских прав. © АО «Издательство «Просвещение», 20</a:t>
            </a:r>
            <a:r>
              <a:rPr lang="en-US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</a:rPr>
              <a:t>2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</a:rPr>
              <a:t>2 г.</a:t>
            </a:r>
          </a:p>
        </p:txBody>
      </p:sp>
      <p:sp>
        <p:nvSpPr>
          <p:cNvPr id="8" name="Подзаголовок 2"/>
          <p:cNvSpPr txBox="1"/>
          <p:nvPr/>
        </p:nvSpPr>
        <p:spPr>
          <a:xfrm>
            <a:off x="407717" y="1736899"/>
            <a:ext cx="4795961" cy="36931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20000"/>
              </a:lnSpc>
              <a:spcBef>
                <a:spcPts val="0"/>
              </a:spcBef>
              <a:defRPr/>
            </a:pPr>
            <a:r>
              <a:rPr lang="ru-RU" sz="4000" b="1" dirty="0">
                <a:solidFill>
                  <a:schemeClr val="bg1"/>
                </a:solidFill>
                <a:ea typeface="Arial" panose="020B0604020202020204" pitchFamily="34" charset="0"/>
                <a:cs typeface="Arial" panose="020B0604020202020204" pitchFamily="34" charset="0"/>
              </a:rPr>
              <a:t>Ресурсы для проектной деятельности в современной 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defRPr/>
            </a:pPr>
            <a:r>
              <a:rPr lang="ru-RU" sz="4000" b="1" dirty="0">
                <a:solidFill>
                  <a:schemeClr val="bg1"/>
                </a:solidFill>
                <a:ea typeface="Arial" panose="020B0604020202020204" pitchFamily="34" charset="0"/>
                <a:cs typeface="Arial" panose="020B0604020202020204" pitchFamily="34" charset="0"/>
              </a:rPr>
              <a:t>школе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8"/>
          <a:srcRect l="1" r="71" b="18722"/>
          <a:stretch>
            <a:fillRect/>
          </a:stretch>
        </p:blipFill>
        <p:spPr>
          <a:xfrm>
            <a:off x="407761" y="460337"/>
            <a:ext cx="2819123" cy="764316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10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24"/>
          <p:cNvSpPr txBox="1"/>
          <p:nvPr/>
        </p:nvSpPr>
        <p:spPr>
          <a:xfrm>
            <a:off x="1956355" y="143405"/>
            <a:ext cx="9058275" cy="40934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5000"/>
              </a:lnSpc>
            </a:pPr>
            <a:r>
              <a:rPr lang="ru-RU" altLang="en-GB" sz="2800" b="1" noProof="1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От теории к практике</a:t>
            </a:r>
          </a:p>
        </p:txBody>
      </p:sp>
      <p:pic>
        <p:nvPicPr>
          <p:cNvPr id="22835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248" y="872068"/>
            <a:ext cx="4063496" cy="343221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28355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063"/>
          <a:stretch>
            <a:fillRect/>
          </a:stretch>
        </p:blipFill>
        <p:spPr bwMode="auto">
          <a:xfrm>
            <a:off x="6847095" y="717955"/>
            <a:ext cx="5138225" cy="554737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28356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6719" y="2913441"/>
            <a:ext cx="3926592" cy="364754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575" y="4585298"/>
            <a:ext cx="1334226" cy="1859940"/>
          </a:xfrm>
          <a:prstGeom prst="rect">
            <a:avLst/>
          </a:prstGeom>
          <a:ln w="12700">
            <a:solidFill>
              <a:schemeClr val="bg1">
                <a:lumMod val="85000"/>
              </a:schemeClr>
            </a:solidFill>
          </a:ln>
          <a:effectLst/>
        </p:spPr>
      </p:pic>
      <p:sp>
        <p:nvSpPr>
          <p:cNvPr id="3" name="Прямоугольник 2"/>
          <p:cNvSpPr/>
          <p:nvPr/>
        </p:nvSpPr>
        <p:spPr>
          <a:xfrm>
            <a:off x="137987" y="6539932"/>
            <a:ext cx="3006571" cy="153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11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24"/>
          <p:cNvSpPr txBox="1"/>
          <p:nvPr/>
        </p:nvSpPr>
        <p:spPr>
          <a:xfrm>
            <a:off x="1956355" y="143405"/>
            <a:ext cx="9058275" cy="40934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5000"/>
              </a:lnSpc>
            </a:pPr>
            <a:r>
              <a:rPr lang="ru-RU" altLang="en-GB" sz="2800" b="1" noProof="1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От теории к практике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575" y="4585298"/>
            <a:ext cx="1334226" cy="1859940"/>
          </a:xfrm>
          <a:prstGeom prst="rect">
            <a:avLst/>
          </a:prstGeom>
          <a:ln w="12700">
            <a:solidFill>
              <a:schemeClr val="bg1">
                <a:lumMod val="85000"/>
              </a:schemeClr>
            </a:solidFill>
          </a:ln>
          <a:effectLst/>
        </p:spPr>
      </p:pic>
      <p:pic>
        <p:nvPicPr>
          <p:cNvPr id="22937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822" y="965201"/>
            <a:ext cx="4443707" cy="2692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2937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5492" y="1210721"/>
            <a:ext cx="5511686" cy="5149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29380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5621" y="2833995"/>
            <a:ext cx="4642379" cy="380348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37987" y="6539932"/>
            <a:ext cx="3006571" cy="153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12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24"/>
          <p:cNvSpPr txBox="1"/>
          <p:nvPr/>
        </p:nvSpPr>
        <p:spPr>
          <a:xfrm>
            <a:off x="1956355" y="143405"/>
            <a:ext cx="9058275" cy="40934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5000"/>
              </a:lnSpc>
            </a:pPr>
            <a:r>
              <a:rPr lang="ru-RU" altLang="en-GB" sz="2800" b="1" noProof="1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От теории к практике</a:t>
            </a:r>
          </a:p>
        </p:txBody>
      </p:sp>
      <p:grpSp>
        <p:nvGrpSpPr>
          <p:cNvPr id="11" name="Group 7"/>
          <p:cNvGrpSpPr/>
          <p:nvPr/>
        </p:nvGrpSpPr>
        <p:grpSpPr>
          <a:xfrm>
            <a:off x="2456506" y="716513"/>
            <a:ext cx="4666260" cy="5937464"/>
            <a:chOff x="823" y="1998"/>
            <a:chExt cx="5847" cy="8391"/>
          </a:xfrm>
        </p:grpSpPr>
        <p:pic>
          <p:nvPicPr>
            <p:cNvPr id="13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" y="2054"/>
              <a:ext cx="5847" cy="83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Rectangle 6"/>
            <p:cNvSpPr/>
            <p:nvPr/>
          </p:nvSpPr>
          <p:spPr>
            <a:xfrm>
              <a:off x="823" y="1998"/>
              <a:ext cx="5810" cy="8391"/>
            </a:xfrm>
            <a:prstGeom prst="rect">
              <a:avLst/>
            </a:prstGeom>
            <a:noFill/>
            <a:ln w="25400" cap="flat">
              <a:solidFill>
                <a:schemeClr val="accent1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vertOverflow="overflow" horzOverflow="overflow" vert="horz" wrap="square" lIns="45718" tIns="45718" rIns="45718" bIns="45718" numCol="1" spcCol="38100" rtlCol="0" anchor="ctr" forceAA="0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endParaRPr>
            </a:p>
          </p:txBody>
        </p:sp>
      </p:grpSp>
      <p:pic>
        <p:nvPicPr>
          <p:cNvPr id="16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9"/>
          <a:stretch>
            <a:fillRect/>
          </a:stretch>
        </p:blipFill>
        <p:spPr bwMode="auto">
          <a:xfrm>
            <a:off x="345266" y="1054527"/>
            <a:ext cx="1611089" cy="231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oup 11"/>
          <p:cNvGrpSpPr/>
          <p:nvPr/>
        </p:nvGrpSpPr>
        <p:grpSpPr>
          <a:xfrm>
            <a:off x="7290365" y="618907"/>
            <a:ext cx="4732499" cy="6068369"/>
            <a:chOff x="7853" y="1812"/>
            <a:chExt cx="5930" cy="8576"/>
          </a:xfrm>
        </p:grpSpPr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3" y="1812"/>
              <a:ext cx="5931" cy="8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Rectangle 10"/>
            <p:cNvSpPr/>
            <p:nvPr/>
          </p:nvSpPr>
          <p:spPr>
            <a:xfrm>
              <a:off x="7880" y="1998"/>
              <a:ext cx="5897" cy="8391"/>
            </a:xfrm>
            <a:prstGeom prst="rect">
              <a:avLst/>
            </a:prstGeom>
            <a:noFill/>
            <a:ln w="25400" cap="flat">
              <a:solidFill>
                <a:schemeClr val="accent1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vertOverflow="overflow" horzOverflow="overflow" vert="horz" wrap="square" lIns="45718" tIns="45718" rIns="45718" bIns="45718" numCol="1" spcCol="38100" rtlCol="0" anchor="ctr" forceAA="0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137987" y="6539932"/>
            <a:ext cx="3006571" cy="153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2146" y="700617"/>
            <a:ext cx="4676775" cy="50673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13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24"/>
          <p:cNvSpPr txBox="1"/>
          <p:nvPr/>
        </p:nvSpPr>
        <p:spPr>
          <a:xfrm>
            <a:off x="1956355" y="143405"/>
            <a:ext cx="9058275" cy="40934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5000"/>
              </a:lnSpc>
            </a:pPr>
            <a:r>
              <a:rPr lang="ru-RU" altLang="en-GB" sz="2800" b="1" noProof="1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От теории к практике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8721" y="6560531"/>
            <a:ext cx="2876146" cy="153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pic>
        <p:nvPicPr>
          <p:cNvPr id="2324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755" y="781581"/>
            <a:ext cx="4163727" cy="388355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3245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2525" y="3075655"/>
            <a:ext cx="4507514" cy="356182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507" y="4269610"/>
            <a:ext cx="1500530" cy="2101161"/>
          </a:xfrm>
          <a:prstGeom prst="rect">
            <a:avLst/>
          </a:prstGeom>
          <a:noFill/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14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78721" y="6560531"/>
            <a:ext cx="2876146" cy="153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3" name="object 2"/>
          <p:cNvSpPr txBox="1">
            <a:spLocks noGrp="1"/>
          </p:cNvSpPr>
          <p:nvPr>
            <p:ph type="title"/>
          </p:nvPr>
        </p:nvSpPr>
        <p:spPr>
          <a:xfrm>
            <a:off x="1859915" y="144780"/>
            <a:ext cx="9452610" cy="55372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 algn="l">
              <a:lnSpc>
                <a:spcPct val="95000"/>
              </a:lnSpc>
              <a:buClrTx/>
              <a:buSzTx/>
              <a:buFontTx/>
            </a:pPr>
            <a:r>
              <a:rPr lang="ru-RU" altLang="en-GB" sz="2800" b="1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Объекты исследования для тех, кто постарше</a:t>
            </a:r>
          </a:p>
        </p:txBody>
      </p:sp>
      <p:grpSp>
        <p:nvGrpSpPr>
          <p:cNvPr id="4" name="object 3"/>
          <p:cNvGrpSpPr/>
          <p:nvPr/>
        </p:nvGrpSpPr>
        <p:grpSpPr>
          <a:xfrm>
            <a:off x="0" y="2799792"/>
            <a:ext cx="12189460" cy="4058285"/>
            <a:chOff x="0" y="2799792"/>
            <a:chExt cx="12189460" cy="4058285"/>
          </a:xfrm>
        </p:grpSpPr>
        <p:sp>
          <p:nvSpPr>
            <p:cNvPr id="5" name="object 4"/>
            <p:cNvSpPr/>
            <p:nvPr/>
          </p:nvSpPr>
          <p:spPr>
            <a:xfrm>
              <a:off x="3501345" y="6808678"/>
              <a:ext cx="1752600" cy="49530"/>
            </a:xfrm>
            <a:custGeom>
              <a:avLst/>
              <a:gdLst/>
              <a:ahLst/>
              <a:cxnLst/>
              <a:rect l="l" t="t" r="r" b="b"/>
              <a:pathLst>
                <a:path w="1752600" h="49529">
                  <a:moveTo>
                    <a:pt x="0" y="49321"/>
                  </a:moveTo>
                  <a:lnTo>
                    <a:pt x="1752282" y="49321"/>
                  </a:lnTo>
                  <a:lnTo>
                    <a:pt x="1752282" y="0"/>
                  </a:lnTo>
                  <a:lnTo>
                    <a:pt x="0" y="0"/>
                  </a:lnTo>
                  <a:lnTo>
                    <a:pt x="0" y="49321"/>
                  </a:lnTo>
                  <a:close/>
                </a:path>
              </a:pathLst>
            </a:custGeom>
            <a:solidFill>
              <a:srgbClr val="43D1A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5"/>
            <p:cNvSpPr/>
            <p:nvPr/>
          </p:nvSpPr>
          <p:spPr>
            <a:xfrm>
              <a:off x="1749231" y="6808678"/>
              <a:ext cx="1752600" cy="49530"/>
            </a:xfrm>
            <a:custGeom>
              <a:avLst/>
              <a:gdLst/>
              <a:ahLst/>
              <a:cxnLst/>
              <a:rect l="l" t="t" r="r" b="b"/>
              <a:pathLst>
                <a:path w="1752600" h="49529">
                  <a:moveTo>
                    <a:pt x="0" y="49321"/>
                  </a:moveTo>
                  <a:lnTo>
                    <a:pt x="1752282" y="49321"/>
                  </a:lnTo>
                  <a:lnTo>
                    <a:pt x="1752282" y="0"/>
                  </a:lnTo>
                  <a:lnTo>
                    <a:pt x="0" y="0"/>
                  </a:lnTo>
                  <a:lnTo>
                    <a:pt x="0" y="49321"/>
                  </a:lnTo>
                  <a:close/>
                </a:path>
              </a:pathLst>
            </a:custGeom>
            <a:solidFill>
              <a:srgbClr val="9ED3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6"/>
            <p:cNvSpPr/>
            <p:nvPr/>
          </p:nvSpPr>
          <p:spPr>
            <a:xfrm>
              <a:off x="7005742" y="6808678"/>
              <a:ext cx="1752600" cy="49530"/>
            </a:xfrm>
            <a:custGeom>
              <a:avLst/>
              <a:gdLst/>
              <a:ahLst/>
              <a:cxnLst/>
              <a:rect l="l" t="t" r="r" b="b"/>
              <a:pathLst>
                <a:path w="1752600" h="49529">
                  <a:moveTo>
                    <a:pt x="0" y="49321"/>
                  </a:moveTo>
                  <a:lnTo>
                    <a:pt x="1752282" y="49321"/>
                  </a:lnTo>
                  <a:lnTo>
                    <a:pt x="1752282" y="0"/>
                  </a:lnTo>
                  <a:lnTo>
                    <a:pt x="0" y="0"/>
                  </a:lnTo>
                  <a:lnTo>
                    <a:pt x="0" y="49321"/>
                  </a:lnTo>
                  <a:close/>
                </a:path>
              </a:pathLst>
            </a:custGeom>
            <a:solidFill>
              <a:srgbClr val="40A7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7"/>
            <p:cNvSpPr/>
            <p:nvPr/>
          </p:nvSpPr>
          <p:spPr>
            <a:xfrm>
              <a:off x="5253628" y="6808678"/>
              <a:ext cx="1752600" cy="49530"/>
            </a:xfrm>
            <a:custGeom>
              <a:avLst/>
              <a:gdLst/>
              <a:ahLst/>
              <a:cxnLst/>
              <a:rect l="l" t="t" r="r" b="b"/>
              <a:pathLst>
                <a:path w="1752600" h="49529">
                  <a:moveTo>
                    <a:pt x="0" y="49321"/>
                  </a:moveTo>
                  <a:lnTo>
                    <a:pt x="1752282" y="49321"/>
                  </a:lnTo>
                  <a:lnTo>
                    <a:pt x="1752282" y="0"/>
                  </a:lnTo>
                  <a:lnTo>
                    <a:pt x="0" y="0"/>
                  </a:lnTo>
                  <a:lnTo>
                    <a:pt x="0" y="49321"/>
                  </a:lnTo>
                  <a:close/>
                </a:path>
              </a:pathLst>
            </a:custGeom>
            <a:solidFill>
              <a:srgbClr val="40D3E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8"/>
            <p:cNvSpPr/>
            <p:nvPr/>
          </p:nvSpPr>
          <p:spPr>
            <a:xfrm>
              <a:off x="10510139" y="6808678"/>
              <a:ext cx="1678939" cy="49530"/>
            </a:xfrm>
            <a:custGeom>
              <a:avLst/>
              <a:gdLst/>
              <a:ahLst/>
              <a:cxnLst/>
              <a:rect l="l" t="t" r="r" b="b"/>
              <a:pathLst>
                <a:path w="1678939" h="49529">
                  <a:moveTo>
                    <a:pt x="0" y="0"/>
                  </a:moveTo>
                  <a:lnTo>
                    <a:pt x="0" y="49321"/>
                  </a:lnTo>
                  <a:lnTo>
                    <a:pt x="1678521" y="49321"/>
                  </a:lnTo>
                  <a:lnTo>
                    <a:pt x="16785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370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9"/>
            <p:cNvSpPr/>
            <p:nvPr/>
          </p:nvSpPr>
          <p:spPr>
            <a:xfrm>
              <a:off x="8758025" y="6808678"/>
              <a:ext cx="1752600" cy="49530"/>
            </a:xfrm>
            <a:custGeom>
              <a:avLst/>
              <a:gdLst/>
              <a:ahLst/>
              <a:cxnLst/>
              <a:rect l="l" t="t" r="r" b="b"/>
              <a:pathLst>
                <a:path w="1752600" h="49529">
                  <a:moveTo>
                    <a:pt x="0" y="49321"/>
                  </a:moveTo>
                  <a:lnTo>
                    <a:pt x="1752282" y="49321"/>
                  </a:lnTo>
                  <a:lnTo>
                    <a:pt x="1752282" y="0"/>
                  </a:lnTo>
                  <a:lnTo>
                    <a:pt x="0" y="0"/>
                  </a:lnTo>
                  <a:lnTo>
                    <a:pt x="0" y="49321"/>
                  </a:lnTo>
                  <a:close/>
                </a:path>
              </a:pathLst>
            </a:custGeom>
            <a:solidFill>
              <a:srgbClr val="4383D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0"/>
            <p:cNvSpPr/>
            <p:nvPr/>
          </p:nvSpPr>
          <p:spPr>
            <a:xfrm>
              <a:off x="0" y="6808678"/>
              <a:ext cx="1749425" cy="49530"/>
            </a:xfrm>
            <a:custGeom>
              <a:avLst/>
              <a:gdLst/>
              <a:ahLst/>
              <a:cxnLst/>
              <a:rect l="l" t="t" r="r" b="b"/>
              <a:pathLst>
                <a:path w="1749425" h="49529">
                  <a:moveTo>
                    <a:pt x="0" y="0"/>
                  </a:moveTo>
                  <a:lnTo>
                    <a:pt x="0" y="49321"/>
                  </a:lnTo>
                  <a:lnTo>
                    <a:pt x="1749231" y="49321"/>
                  </a:lnTo>
                  <a:lnTo>
                    <a:pt x="17492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B04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3" name="object 1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736460" y="2799792"/>
              <a:ext cx="5452491" cy="4008882"/>
            </a:xfrm>
            <a:prstGeom prst="rect">
              <a:avLst/>
            </a:prstGeom>
          </p:spPr>
        </p:pic>
      </p:grpSp>
      <p:sp>
        <p:nvSpPr>
          <p:cNvPr id="15" name="object 24"/>
          <p:cNvSpPr txBox="1"/>
          <p:nvPr/>
        </p:nvSpPr>
        <p:spPr>
          <a:xfrm>
            <a:off x="216814" y="862970"/>
            <a:ext cx="5840095" cy="3867150"/>
          </a:xfrm>
          <a:prstGeom prst="rect">
            <a:avLst/>
          </a:prstGeom>
        </p:spPr>
        <p:txBody>
          <a:bodyPr vert="horz" wrap="square" lIns="0" tIns="225425" rIns="0" bIns="0" rtlCol="0">
            <a:spAutoFit/>
          </a:bodyPr>
          <a:lstStyle/>
          <a:p>
            <a:pPr marL="299085" indent="-287020">
              <a:lnSpc>
                <a:spcPct val="100000"/>
              </a:lnSpc>
              <a:spcBef>
                <a:spcPts val="1775"/>
              </a:spcBef>
              <a:buSzPct val="96000"/>
              <a:buFont typeface="Wingdings" panose="05000000000000000000"/>
              <a:buChar char=""/>
              <a:tabLst>
                <a:tab pos="299720" algn="l"/>
              </a:tabLst>
            </a:pPr>
            <a:r>
              <a:rPr sz="2800" b="1" spc="-25" dirty="0">
                <a:latin typeface="Calibri" panose="020F0502020204030204"/>
                <a:cs typeface="Calibri" panose="020F0502020204030204"/>
              </a:rPr>
              <a:t>Атмосферный</a:t>
            </a:r>
            <a:r>
              <a:rPr sz="2800" b="1" spc="-65" dirty="0">
                <a:latin typeface="Calibri" panose="020F0502020204030204"/>
                <a:cs typeface="Calibri" panose="020F0502020204030204"/>
              </a:rPr>
              <a:t> </a:t>
            </a:r>
            <a:r>
              <a:rPr sz="2800" b="1" spc="-10" dirty="0">
                <a:latin typeface="Calibri" panose="020F0502020204030204"/>
                <a:cs typeface="Calibri" panose="020F0502020204030204"/>
              </a:rPr>
              <a:t>воздух</a:t>
            </a:r>
            <a:endParaRPr sz="2800">
              <a:latin typeface="Calibri" panose="020F0502020204030204"/>
              <a:cs typeface="Calibri" panose="020F0502020204030204"/>
            </a:endParaRPr>
          </a:p>
          <a:p>
            <a:pPr marL="1466215" lvl="1" indent="-285750">
              <a:lnSpc>
                <a:spcPct val="100000"/>
              </a:lnSpc>
              <a:spcBef>
                <a:spcPts val="1685"/>
              </a:spcBef>
              <a:buFont typeface="Wingdings" panose="05000000000000000000"/>
              <a:buChar char=""/>
              <a:tabLst>
                <a:tab pos="1466850" algn="l"/>
              </a:tabLst>
            </a:pPr>
            <a:r>
              <a:rPr sz="2800" dirty="0">
                <a:latin typeface="Calibri" panose="020F0502020204030204"/>
                <a:cs typeface="Calibri" panose="020F0502020204030204"/>
              </a:rPr>
              <a:t>Воздух</a:t>
            </a:r>
            <a:r>
              <a:rPr sz="2800" spc="-130" dirty="0">
                <a:latin typeface="Calibri" panose="020F0502020204030204"/>
                <a:cs typeface="Calibri" panose="020F0502020204030204"/>
              </a:rPr>
              <a:t> </a:t>
            </a:r>
            <a:r>
              <a:rPr sz="2800" spc="-10" dirty="0">
                <a:latin typeface="Calibri" panose="020F0502020204030204"/>
                <a:cs typeface="Calibri" panose="020F0502020204030204"/>
              </a:rPr>
              <a:t>селитебной</a:t>
            </a:r>
            <a:r>
              <a:rPr sz="2800" spc="-140" dirty="0">
                <a:latin typeface="Calibri" panose="020F0502020204030204"/>
                <a:cs typeface="Calibri" panose="020F0502020204030204"/>
              </a:rPr>
              <a:t> </a:t>
            </a:r>
            <a:r>
              <a:rPr sz="2800" spc="-20" dirty="0">
                <a:latin typeface="Calibri" panose="020F0502020204030204"/>
                <a:cs typeface="Calibri" panose="020F0502020204030204"/>
              </a:rPr>
              <a:t>зоны</a:t>
            </a:r>
            <a:endParaRPr sz="2800">
              <a:latin typeface="Calibri" panose="020F0502020204030204"/>
              <a:cs typeface="Calibri" panose="020F0502020204030204"/>
            </a:endParaRPr>
          </a:p>
          <a:p>
            <a:pPr marL="1466215" lvl="1" indent="-285750">
              <a:lnSpc>
                <a:spcPct val="100000"/>
              </a:lnSpc>
              <a:spcBef>
                <a:spcPts val="1680"/>
              </a:spcBef>
              <a:buFont typeface="Wingdings" panose="05000000000000000000"/>
              <a:buChar char=""/>
              <a:tabLst>
                <a:tab pos="1466850" algn="l"/>
              </a:tabLst>
            </a:pPr>
            <a:r>
              <a:rPr sz="2800" dirty="0">
                <a:latin typeface="Calibri" panose="020F0502020204030204"/>
                <a:cs typeface="Calibri" panose="020F0502020204030204"/>
              </a:rPr>
              <a:t>Воздух</a:t>
            </a:r>
            <a:r>
              <a:rPr sz="2800" spc="-125" dirty="0">
                <a:latin typeface="Calibri" panose="020F0502020204030204"/>
                <a:cs typeface="Calibri" panose="020F0502020204030204"/>
              </a:rPr>
              <a:t> </a:t>
            </a:r>
            <a:r>
              <a:rPr sz="2800" dirty="0">
                <a:latin typeface="Calibri" panose="020F0502020204030204"/>
                <a:cs typeface="Calibri" panose="020F0502020204030204"/>
              </a:rPr>
              <a:t>рабочей</a:t>
            </a:r>
            <a:r>
              <a:rPr sz="2800" spc="-135" dirty="0">
                <a:latin typeface="Calibri" panose="020F0502020204030204"/>
                <a:cs typeface="Calibri" panose="020F0502020204030204"/>
              </a:rPr>
              <a:t> </a:t>
            </a:r>
            <a:r>
              <a:rPr sz="2800" spc="-20" dirty="0">
                <a:latin typeface="Calibri" panose="020F0502020204030204"/>
                <a:cs typeface="Calibri" panose="020F0502020204030204"/>
              </a:rPr>
              <a:t>зоны</a:t>
            </a:r>
            <a:endParaRPr sz="2800">
              <a:latin typeface="Calibri" panose="020F0502020204030204"/>
              <a:cs typeface="Calibri" panose="020F0502020204030204"/>
            </a:endParaRPr>
          </a:p>
          <a:p>
            <a:pPr marL="1466215" lvl="1" indent="-285750">
              <a:lnSpc>
                <a:spcPct val="100000"/>
              </a:lnSpc>
              <a:spcBef>
                <a:spcPts val="1680"/>
              </a:spcBef>
              <a:buFont typeface="Wingdings" panose="05000000000000000000"/>
              <a:buChar char=""/>
              <a:tabLst>
                <a:tab pos="1466850" algn="l"/>
              </a:tabLst>
            </a:pPr>
            <a:r>
              <a:rPr sz="2800" dirty="0">
                <a:latin typeface="Calibri" panose="020F0502020204030204"/>
                <a:cs typeface="Calibri" panose="020F0502020204030204"/>
              </a:rPr>
              <a:t>Воздух</a:t>
            </a:r>
            <a:r>
              <a:rPr sz="2800" spc="-114" dirty="0">
                <a:latin typeface="Calibri" panose="020F0502020204030204"/>
                <a:cs typeface="Calibri" panose="020F0502020204030204"/>
              </a:rPr>
              <a:t> </a:t>
            </a:r>
            <a:r>
              <a:rPr sz="2800" spc="-10" dirty="0">
                <a:latin typeface="Calibri" panose="020F0502020204030204"/>
                <a:cs typeface="Calibri" panose="020F0502020204030204"/>
              </a:rPr>
              <a:t>рекреационной</a:t>
            </a:r>
            <a:r>
              <a:rPr sz="2800" spc="-105" dirty="0">
                <a:latin typeface="Calibri" panose="020F0502020204030204"/>
                <a:cs typeface="Calibri" panose="020F0502020204030204"/>
              </a:rPr>
              <a:t> </a:t>
            </a:r>
            <a:r>
              <a:rPr sz="2800" spc="-20" dirty="0">
                <a:latin typeface="Calibri" panose="020F0502020204030204"/>
                <a:cs typeface="Calibri" panose="020F0502020204030204"/>
              </a:rPr>
              <a:t>зоны</a:t>
            </a:r>
            <a:endParaRPr sz="2800">
              <a:latin typeface="Calibri" panose="020F0502020204030204"/>
              <a:cs typeface="Calibri" panose="020F0502020204030204"/>
            </a:endParaRPr>
          </a:p>
          <a:p>
            <a:pPr marL="299085" indent="-287020">
              <a:lnSpc>
                <a:spcPct val="100000"/>
              </a:lnSpc>
              <a:spcBef>
                <a:spcPts val="1680"/>
              </a:spcBef>
              <a:buSzPct val="96000"/>
              <a:buFont typeface="Wingdings" panose="05000000000000000000"/>
              <a:buChar char=""/>
              <a:tabLst>
                <a:tab pos="299720" algn="l"/>
              </a:tabLst>
            </a:pPr>
            <a:r>
              <a:rPr sz="2800" b="1" spc="-10" dirty="0">
                <a:latin typeface="Calibri" panose="020F0502020204030204"/>
                <a:cs typeface="Calibri" panose="020F0502020204030204"/>
              </a:rPr>
              <a:t>Поверхностные</a:t>
            </a:r>
            <a:r>
              <a:rPr sz="2800" b="1" spc="-120" dirty="0">
                <a:latin typeface="Calibri" panose="020F0502020204030204"/>
                <a:cs typeface="Calibri" panose="020F0502020204030204"/>
              </a:rPr>
              <a:t> </a:t>
            </a:r>
            <a:r>
              <a:rPr sz="2800" b="1" spc="-20" dirty="0">
                <a:latin typeface="Calibri" panose="020F0502020204030204"/>
                <a:cs typeface="Calibri" panose="020F0502020204030204"/>
              </a:rPr>
              <a:t>воды</a:t>
            </a:r>
            <a:endParaRPr sz="2800">
              <a:latin typeface="Calibri" panose="020F0502020204030204"/>
              <a:cs typeface="Calibri" panose="020F0502020204030204"/>
            </a:endParaRPr>
          </a:p>
          <a:p>
            <a:pPr marL="299085" indent="-287020">
              <a:lnSpc>
                <a:spcPct val="100000"/>
              </a:lnSpc>
              <a:spcBef>
                <a:spcPts val="1685"/>
              </a:spcBef>
              <a:buSzPct val="96000"/>
              <a:buFont typeface="Wingdings" panose="05000000000000000000"/>
              <a:buChar char=""/>
              <a:tabLst>
                <a:tab pos="299720" algn="l"/>
              </a:tabLst>
            </a:pPr>
            <a:r>
              <a:rPr sz="2800" b="1" spc="-10" dirty="0">
                <a:latin typeface="Calibri" panose="020F0502020204030204"/>
                <a:cs typeface="Calibri" panose="020F0502020204030204"/>
              </a:rPr>
              <a:t>Почва</a:t>
            </a:r>
            <a:endParaRPr sz="2800">
              <a:latin typeface="Calibri" panose="020F0502020204030204"/>
              <a:cs typeface="Calibri" panose="020F0502020204030204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15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78721" y="6560531"/>
            <a:ext cx="2876146" cy="153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3" name="object 2"/>
          <p:cNvSpPr txBox="1">
            <a:spLocks noGrp="1"/>
          </p:cNvSpPr>
          <p:nvPr>
            <p:ph type="title"/>
          </p:nvPr>
        </p:nvSpPr>
        <p:spPr>
          <a:xfrm>
            <a:off x="1861820" y="148472"/>
            <a:ext cx="10972800" cy="368935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lvl="1" algn="l" rtl="0">
              <a:lnSpc>
                <a:spcPct val="100000"/>
              </a:lnSpc>
              <a:spcBef>
                <a:spcPts val="0"/>
              </a:spcBef>
            </a:pPr>
            <a:r>
              <a:rPr lang="ru-RU" altLang="en-GB" sz="2400" b="1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Методы определения различных показателей качества воды</a:t>
            </a:r>
          </a:p>
        </p:txBody>
      </p:sp>
      <p:graphicFrame>
        <p:nvGraphicFramePr>
          <p:cNvPr id="23" name="object 23"/>
          <p:cNvGraphicFramePr>
            <a:graphicFrameLocks noGrp="1"/>
          </p:cNvGraphicFramePr>
          <p:nvPr/>
        </p:nvGraphicFramePr>
        <p:xfrm>
          <a:off x="632028" y="751712"/>
          <a:ext cx="11185523" cy="545782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1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71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71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371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371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3497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Наименование</a:t>
                      </a: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показателя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9906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30200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Метод</a:t>
                      </a:r>
                      <a:r>
                        <a:rPr sz="1400" b="1" spc="-5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определения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9906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ts val="1625"/>
                        </a:lnSpc>
                      </a:pP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Диапазон</a:t>
                      </a:r>
                      <a:r>
                        <a:rPr sz="1400" b="1" spc="-6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определяемых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концентраций*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Норматив</a:t>
                      </a:r>
                      <a:r>
                        <a:rPr sz="1400" b="1" spc="-5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качества**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9906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ts val="1625"/>
                        </a:lnSpc>
                      </a:pP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Объем</a:t>
                      </a:r>
                      <a:r>
                        <a:rPr sz="1400" b="1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пробы</a:t>
                      </a:r>
                      <a:r>
                        <a:rPr sz="1400" b="1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для</a:t>
                      </a:r>
                      <a:r>
                        <a:rPr sz="1400" b="1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анализа,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400" b="1" spc="-25" dirty="0">
                          <a:latin typeface="Calibri" panose="020F0502020204030204"/>
                          <a:cs typeface="Calibri" panose="020F0502020204030204"/>
                        </a:rPr>
                        <a:t>м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1615">
                <a:tc gridSpan="5">
                  <a:txBody>
                    <a:bodyPr/>
                    <a:lstStyle/>
                    <a:p>
                      <a:pPr marL="3175" algn="ctr">
                        <a:lnSpc>
                          <a:spcPts val="1625"/>
                        </a:lnSpc>
                      </a:pP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Органолептические</a:t>
                      </a:r>
                      <a:r>
                        <a:rPr sz="1400" b="1" spc="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показатели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1615">
                <a:tc>
                  <a:txBody>
                    <a:bodyPr/>
                    <a:lstStyle/>
                    <a:p>
                      <a:pPr marL="635" algn="ctr">
                        <a:lnSpc>
                          <a:spcPts val="1625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Запах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67030">
                        <a:lnSpc>
                          <a:spcPts val="1625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Органолепт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25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ts val="1625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Не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более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2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баллов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ts val="1625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1615">
                <a:tc>
                  <a:txBody>
                    <a:bodyPr/>
                    <a:lstStyle/>
                    <a:p>
                      <a:pPr algn="ctr">
                        <a:lnSpc>
                          <a:spcPts val="1625"/>
                        </a:lnSpc>
                      </a:pP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Вкус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25"/>
                        </a:lnSpc>
                      </a:pPr>
                      <a:r>
                        <a:rPr sz="1400" spc="-65" dirty="0">
                          <a:latin typeface="Calibri" panose="020F0502020204030204"/>
                          <a:cs typeface="Calibri" panose="020F0502020204030204"/>
                        </a:rPr>
                        <a:t>То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же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25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ts val="1625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Не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более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2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баллов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ts val="1625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1615">
                <a:tc>
                  <a:txBody>
                    <a:bodyPr/>
                    <a:lstStyle/>
                    <a:p>
                      <a:pPr algn="ctr">
                        <a:lnSpc>
                          <a:spcPts val="1625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Цветность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44170">
                        <a:lnSpc>
                          <a:spcPts val="1625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оло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25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10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000</a:t>
                      </a:r>
                      <a:r>
                        <a:rPr sz="14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град.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цветн.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ts val="1625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20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(35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ts val="1625"/>
                        </a:lnSpc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12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1615">
                <a:tc>
                  <a:txBody>
                    <a:bodyPr/>
                    <a:lstStyle/>
                    <a:p>
                      <a:pPr marL="635" algn="ctr">
                        <a:lnSpc>
                          <a:spcPts val="1625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утность</a:t>
                      </a:r>
                      <a:r>
                        <a:rPr sz="14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и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прозрачность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08660">
                        <a:lnSpc>
                          <a:spcPts val="1625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По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шрифту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ts val="1625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1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40</a:t>
                      </a:r>
                      <a:r>
                        <a:rPr sz="1400" spc="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см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ts val="1625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ts val="1625"/>
                        </a:lnSpc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30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1615">
                <a:tc gridSpan="5">
                  <a:txBody>
                    <a:bodyPr/>
                    <a:lstStyle/>
                    <a:p>
                      <a:pPr marL="39370" algn="ctr">
                        <a:lnSpc>
                          <a:spcPts val="1625"/>
                        </a:lnSpc>
                      </a:pP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Общие</a:t>
                      </a:r>
                      <a:r>
                        <a:rPr sz="1400" b="1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и</a:t>
                      </a:r>
                      <a:r>
                        <a:rPr sz="1400" b="1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суммарные</a:t>
                      </a:r>
                      <a:r>
                        <a:rPr sz="1400" b="1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показатели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1615">
                <a:tc>
                  <a:txBody>
                    <a:bodyPr/>
                    <a:lstStyle/>
                    <a:p>
                      <a:pPr algn="ctr">
                        <a:lnSpc>
                          <a:spcPts val="1625"/>
                        </a:lnSpc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рН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44170">
                        <a:lnSpc>
                          <a:spcPts val="1625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оло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25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4,5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1,0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ед.</a:t>
                      </a:r>
                      <a:r>
                        <a:rPr sz="14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рН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25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6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9</a:t>
                      </a:r>
                      <a:r>
                        <a:rPr sz="14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ед.</a:t>
                      </a:r>
                      <a:r>
                        <a:rPr sz="14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рН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ts val="1625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5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86169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85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Растворённый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ислород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87985" marR="379730" algn="ctr">
                        <a:lnSpc>
                          <a:spcPts val="168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Титриметрический,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по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Винклеру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322580" marR="313055" algn="ctr">
                        <a:lnSpc>
                          <a:spcPts val="168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олориметрический,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с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индигокармином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5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5</a:t>
                      </a:r>
                      <a:r>
                        <a:rPr sz="1400" spc="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мгО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45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01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0,10</a:t>
                      </a:r>
                      <a:r>
                        <a:rPr sz="1400" spc="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мгО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  <a:spcBef>
                          <a:spcPts val="85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4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100-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20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45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40640" algn="ctr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200-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25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4975">
                <a:tc>
                  <a:txBody>
                    <a:bodyPr/>
                    <a:lstStyle/>
                    <a:p>
                      <a:pPr marL="490220" marR="3810" indent="-478790">
                        <a:lnSpc>
                          <a:spcPts val="168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Биохимическое</a:t>
                      </a:r>
                      <a:r>
                        <a:rPr sz="1400" spc="4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потребление кислорода</a:t>
                      </a:r>
                      <a:r>
                        <a:rPr sz="1400" spc="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(БПК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56920" marR="287020" indent="-463550">
                        <a:lnSpc>
                          <a:spcPts val="168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Титриметрический</a:t>
                      </a:r>
                      <a:r>
                        <a:rPr sz="1400" spc="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по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Винклеру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0,5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гО/л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и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более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3-6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24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4975">
                <a:tc>
                  <a:txBody>
                    <a:bodyPr/>
                    <a:lstStyle/>
                    <a:p>
                      <a:pPr marL="1905" algn="ctr">
                        <a:lnSpc>
                          <a:spcPts val="163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Химическое</a:t>
                      </a:r>
                      <a:r>
                        <a:rPr sz="1400" spc="-5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потребление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ислорода</a:t>
                      </a:r>
                      <a:r>
                        <a:rPr sz="14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(ХПК),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ts val="163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Тит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(ускоренный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790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50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4000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мгО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033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ts val="163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5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гО/л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(ХПН)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30</a:t>
                      </a:r>
                      <a:r>
                        <a:rPr sz="14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О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(КБН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79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(5) 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м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033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34975">
                <a:tc>
                  <a:txBody>
                    <a:bodyPr/>
                    <a:lstStyle/>
                    <a:p>
                      <a:pPr marL="635" algn="ctr">
                        <a:lnSpc>
                          <a:spcPts val="163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Перманганатная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окисляемость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3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Титриметрический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по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убелю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790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5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0</a:t>
                      </a:r>
                      <a:r>
                        <a:rPr sz="1400" spc="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мгО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033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79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5,0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гО/л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(питьевая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вода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033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790"/>
                        </a:spcBef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5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033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1615">
                <a:tc>
                  <a:txBody>
                    <a:bodyPr/>
                    <a:lstStyle/>
                    <a:p>
                      <a:pPr algn="ctr">
                        <a:lnSpc>
                          <a:spcPts val="163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Сухой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остаток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17550">
                        <a:lnSpc>
                          <a:spcPts val="163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Расчетны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3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3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000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ts val="163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34975">
                <a:tc>
                  <a:txBody>
                    <a:bodyPr/>
                    <a:lstStyle/>
                    <a:p>
                      <a:pPr marL="412750" marR="190500" indent="-215265">
                        <a:lnSpc>
                          <a:spcPts val="168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Суммарное</a:t>
                      </a:r>
                      <a:r>
                        <a:rPr sz="1400" spc="-4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содержание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тяжелых</a:t>
                      </a:r>
                      <a:r>
                        <a:rPr sz="1400" spc="-7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металлов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51790" marR="344170" indent="161290">
                        <a:lnSpc>
                          <a:spcPts val="168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Экстракционно- коло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90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0001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0,0010</a:t>
                      </a:r>
                      <a:r>
                        <a:rPr sz="1400" spc="5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ммоль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033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9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0,0001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ммоль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033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790"/>
                        </a:spcBef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25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033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64833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40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Хлор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активны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54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11480" marR="336550" indent="-67310">
                        <a:lnSpc>
                          <a:spcPct val="100000"/>
                        </a:lnSpc>
                        <a:spcBef>
                          <a:spcPts val="790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олориметрический Тит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033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40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10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000</a:t>
                      </a:r>
                      <a:r>
                        <a:rPr sz="1400" spc="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r>
                        <a:rPr sz="14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05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0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54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78435" marR="169545" algn="ctr">
                        <a:lnSpc>
                          <a:spcPts val="168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В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питьевой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воде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3-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1,2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г/л,</a:t>
                      </a:r>
                      <a:r>
                        <a:rPr sz="14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в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воде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водоемов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50" dirty="0">
                          <a:latin typeface="Calibri" panose="020F0502020204030204"/>
                          <a:cs typeface="Calibri" panose="020F0502020204030204"/>
                        </a:rPr>
                        <a:t>-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отсутствие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79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5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(10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50-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25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033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16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78721" y="6560531"/>
            <a:ext cx="2876146" cy="153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3" name="object 2"/>
          <p:cNvSpPr txBox="1">
            <a:spLocks noGrp="1"/>
          </p:cNvSpPr>
          <p:nvPr>
            <p:ph type="title"/>
          </p:nvPr>
        </p:nvSpPr>
        <p:spPr>
          <a:xfrm>
            <a:off x="1861820" y="148472"/>
            <a:ext cx="10972800" cy="368935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lvl="1" algn="l" rtl="0">
              <a:lnSpc>
                <a:spcPct val="100000"/>
              </a:lnSpc>
              <a:spcBef>
                <a:spcPts val="0"/>
              </a:spcBef>
            </a:pPr>
            <a:r>
              <a:rPr lang="ru-RU" altLang="en-GB" sz="2400" b="1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Методы определения различных показателей качества воды</a:t>
            </a:r>
          </a:p>
        </p:txBody>
      </p:sp>
      <p:graphicFrame>
        <p:nvGraphicFramePr>
          <p:cNvPr id="21" name="object 21"/>
          <p:cNvGraphicFramePr>
            <a:graphicFrameLocks noGrp="1"/>
          </p:cNvGraphicFramePr>
          <p:nvPr/>
        </p:nvGraphicFramePr>
        <p:xfrm>
          <a:off x="879271" y="1014983"/>
          <a:ext cx="10306683" cy="518667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618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996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739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888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824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34975">
                <a:tc>
                  <a:txBody>
                    <a:bodyPr/>
                    <a:lstStyle/>
                    <a:p>
                      <a:pPr algn="ctr">
                        <a:lnSpc>
                          <a:spcPts val="1620"/>
                        </a:lnSpc>
                      </a:pP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Наименование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показателя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10540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Метод</a:t>
                      </a:r>
                      <a:r>
                        <a:rPr sz="1400" b="1" spc="-5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определения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ts val="1620"/>
                        </a:lnSpc>
                      </a:pP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Диапазон</a:t>
                      </a:r>
                      <a:r>
                        <a:rPr sz="1400" b="1" spc="-4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определяемых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концентраций*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63830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Норматив</a:t>
                      </a:r>
                      <a:r>
                        <a:rPr sz="1400" b="1" spc="-5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качества**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ts val="1620"/>
                        </a:lnSpc>
                      </a:pP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Объем</a:t>
                      </a:r>
                      <a:r>
                        <a:rPr sz="1400" b="1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пробы</a:t>
                      </a:r>
                      <a:r>
                        <a:rPr sz="1400" b="1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25" dirty="0">
                          <a:latin typeface="Calibri" panose="020F0502020204030204"/>
                          <a:cs typeface="Calibri" panose="020F0502020204030204"/>
                        </a:rPr>
                        <a:t>для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анализа,</a:t>
                      </a:r>
                      <a:r>
                        <a:rPr sz="1400" b="1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25" dirty="0">
                          <a:latin typeface="Calibri" panose="020F0502020204030204"/>
                          <a:cs typeface="Calibri" panose="020F0502020204030204"/>
                        </a:rPr>
                        <a:t>м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8945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Общий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фосфор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604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 marR="182245">
                        <a:lnSpc>
                          <a:spcPts val="1680"/>
                        </a:lnSpc>
                        <a:spcBef>
                          <a:spcPts val="50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Визуально-колориметрический Фотоколо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ts val="1675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2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7,0</a:t>
                      </a:r>
                      <a:r>
                        <a:rPr sz="14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01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0,4</a:t>
                      </a:r>
                      <a:r>
                        <a:rPr sz="1400" spc="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3,5</a:t>
                      </a:r>
                      <a:r>
                        <a:rPr sz="14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г/л (по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РО</a:t>
                      </a:r>
                      <a:r>
                        <a:rPr sz="1350" baseline="-22000" dirty="0">
                          <a:latin typeface="Calibri" panose="020F0502020204030204"/>
                          <a:cs typeface="Calibri" panose="020F0502020204030204"/>
                        </a:rPr>
                        <a:t>4</a:t>
                      </a:r>
                      <a:r>
                        <a:rPr sz="1350" baseline="25000" dirty="0">
                          <a:latin typeface="Calibri" panose="020F0502020204030204"/>
                          <a:cs typeface="Calibri" panose="020F0502020204030204"/>
                        </a:rPr>
                        <a:t>3-</a:t>
                      </a:r>
                      <a:r>
                        <a:rPr sz="1400" spc="-50" dirty="0">
                          <a:latin typeface="Calibri" panose="020F0502020204030204"/>
                          <a:cs typeface="Calibri" panose="020F0502020204030204"/>
                        </a:rPr>
                        <a:t>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604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ts val="1675"/>
                        </a:lnSpc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2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2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5585">
                <a:tc gridSpan="5"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Массовая</a:t>
                      </a:r>
                      <a:r>
                        <a:rPr sz="1400" b="1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концентрация</a:t>
                      </a:r>
                      <a:r>
                        <a:rPr sz="1400" b="1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катионов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5585">
                <a:tc>
                  <a:txBody>
                    <a:bodyPr/>
                    <a:lstStyle/>
                    <a:p>
                      <a:pPr marL="22225">
                        <a:lnSpc>
                          <a:spcPts val="168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Алюминий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i="1" spc="-10" dirty="0">
                          <a:latin typeface="Calibri" panose="020F0502020204030204"/>
                          <a:cs typeface="Calibri" panose="020F0502020204030204"/>
                        </a:rPr>
                        <a:t>(Al</a:t>
                      </a:r>
                      <a:r>
                        <a:rPr sz="1350" i="1" spc="-15" baseline="-22000" dirty="0">
                          <a:latin typeface="Calibri" panose="020F0502020204030204"/>
                          <a:cs typeface="Calibri" panose="020F0502020204030204"/>
                        </a:rPr>
                        <a:t>3</a:t>
                      </a:r>
                      <a:r>
                        <a:rPr sz="1350" i="1" spc="-15" baseline="25000" dirty="0">
                          <a:latin typeface="Calibri" panose="020F0502020204030204"/>
                          <a:cs typeface="Calibri" panose="020F0502020204030204"/>
                        </a:rPr>
                        <a:t>+</a:t>
                      </a:r>
                      <a:r>
                        <a:rPr sz="1400" i="1" spc="-10" dirty="0">
                          <a:latin typeface="Calibri" panose="020F0502020204030204"/>
                          <a:cs typeface="Calibri" panose="020F0502020204030204"/>
                        </a:rPr>
                        <a:t>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>
                        <a:lnSpc>
                          <a:spcPts val="168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оло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ts val="168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5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2,0</a:t>
                      </a:r>
                      <a:r>
                        <a:rPr sz="14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ts val="168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0,5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ts val="1680"/>
                        </a:lnSpc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1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8309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Аммоний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(</a:t>
                      </a:r>
                      <a:r>
                        <a:rPr sz="1400" i="1" spc="-10" dirty="0">
                          <a:latin typeface="Calibri" panose="020F0502020204030204"/>
                          <a:cs typeface="Calibri" panose="020F0502020204030204"/>
                        </a:rPr>
                        <a:t>NH</a:t>
                      </a:r>
                      <a:r>
                        <a:rPr sz="1350" i="1" spc="-15" baseline="-22000" dirty="0">
                          <a:latin typeface="Calibri" panose="020F0502020204030204"/>
                          <a:cs typeface="Calibri" panose="020F0502020204030204"/>
                        </a:rPr>
                        <a:t>4</a:t>
                      </a:r>
                      <a:r>
                        <a:rPr sz="1350" spc="-15" baseline="25000" dirty="0">
                          <a:latin typeface="Calibri" panose="020F0502020204030204"/>
                          <a:cs typeface="Calibri" panose="020F0502020204030204"/>
                        </a:rPr>
                        <a:t>+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66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оло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22225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Тит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2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3,0 мг/л</a:t>
                      </a:r>
                      <a:r>
                        <a:rPr sz="14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2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2,5</a:t>
                      </a:r>
                      <a:r>
                        <a:rPr sz="1400" spc="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66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2,5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66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5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10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66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0195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21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Железо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общее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730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21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оло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730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21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1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,5</a:t>
                      </a:r>
                      <a:r>
                        <a:rPr sz="14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730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21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0,3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730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215"/>
                        </a:spcBef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1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730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5585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Кальций</a:t>
                      </a:r>
                      <a:r>
                        <a:rPr sz="14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(</a:t>
                      </a:r>
                      <a:r>
                        <a:rPr sz="1400" i="1" spc="-10" dirty="0">
                          <a:latin typeface="Calibri" panose="020F0502020204030204"/>
                          <a:cs typeface="Calibri" panose="020F0502020204030204"/>
                        </a:rPr>
                        <a:t>Ca</a:t>
                      </a:r>
                      <a:r>
                        <a:rPr sz="1350" i="1" spc="-15" baseline="25000" dirty="0">
                          <a:latin typeface="Calibri" panose="020F0502020204030204"/>
                          <a:cs typeface="Calibri" panose="020F0502020204030204"/>
                        </a:rPr>
                        <a:t>2</a:t>
                      </a:r>
                      <a:r>
                        <a:rPr sz="1350" spc="-15" baseline="25000" dirty="0">
                          <a:latin typeface="Calibri" panose="020F0502020204030204"/>
                          <a:cs typeface="Calibri" panose="020F0502020204030204"/>
                        </a:rPr>
                        <a:t>+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Тит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2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500</a:t>
                      </a:r>
                      <a:r>
                        <a:rPr sz="14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200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0</a:t>
                      </a:r>
                      <a:r>
                        <a:rPr sz="14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(5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5585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агний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(</a:t>
                      </a:r>
                      <a:r>
                        <a:rPr sz="1400" i="1" spc="-10" dirty="0">
                          <a:latin typeface="Calibri" panose="020F0502020204030204"/>
                          <a:cs typeface="Calibri" panose="020F0502020204030204"/>
                        </a:rPr>
                        <a:t>Mg</a:t>
                      </a:r>
                      <a:r>
                        <a:rPr sz="1350" i="1" spc="-15" baseline="25000" dirty="0">
                          <a:latin typeface="Calibri" panose="020F0502020204030204"/>
                          <a:cs typeface="Calibri" panose="020F0502020204030204"/>
                        </a:rPr>
                        <a:t>2</a:t>
                      </a:r>
                      <a:r>
                        <a:rPr sz="1350" spc="-15" baseline="25000" dirty="0">
                          <a:latin typeface="Calibri" panose="020F0502020204030204"/>
                          <a:cs typeface="Calibri" panose="020F0502020204030204"/>
                        </a:rPr>
                        <a:t>+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Расчетны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00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5585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Натрий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и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кал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</a:pPr>
                      <a:r>
                        <a:rPr sz="1400" spc="-65" dirty="0">
                          <a:latin typeface="Calibri" panose="020F0502020204030204"/>
                          <a:cs typeface="Calibri" panose="020F0502020204030204"/>
                        </a:rPr>
                        <a:t>То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же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200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8309">
                <a:tc>
                  <a:txBody>
                    <a:bodyPr/>
                    <a:lstStyle/>
                    <a:p>
                      <a:pPr marL="22225" marR="151130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Общая</a:t>
                      </a:r>
                      <a:r>
                        <a:rPr sz="14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жесткость</a:t>
                      </a:r>
                      <a:r>
                        <a:rPr sz="14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(сумма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катионов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i="1" dirty="0">
                          <a:latin typeface="Calibri" panose="020F0502020204030204"/>
                          <a:cs typeface="Calibri" panose="020F0502020204030204"/>
                        </a:rPr>
                        <a:t>Ca</a:t>
                      </a:r>
                      <a:r>
                        <a:rPr sz="1350" i="1" baseline="25000" dirty="0">
                          <a:latin typeface="Calibri" panose="020F0502020204030204"/>
                          <a:cs typeface="Calibri" panose="020F0502020204030204"/>
                        </a:rPr>
                        <a:t>2</a:t>
                      </a:r>
                      <a:r>
                        <a:rPr sz="1350" baseline="25000" dirty="0">
                          <a:latin typeface="Calibri" panose="020F0502020204030204"/>
                          <a:cs typeface="Calibri" panose="020F0502020204030204"/>
                        </a:rPr>
                        <a:t>+</a:t>
                      </a:r>
                      <a:r>
                        <a:rPr sz="1350" spc="150" baseline="2500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и</a:t>
                      </a:r>
                      <a:r>
                        <a:rPr sz="14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i="1" spc="-20" dirty="0">
                          <a:latin typeface="Calibri" panose="020F0502020204030204"/>
                          <a:cs typeface="Calibri" panose="020F0502020204030204"/>
                        </a:rPr>
                        <a:t>Mg</a:t>
                      </a:r>
                      <a:r>
                        <a:rPr sz="1350" i="1" spc="-30" baseline="25000" dirty="0">
                          <a:latin typeface="Calibri" panose="020F0502020204030204"/>
                          <a:cs typeface="Calibri" panose="020F0502020204030204"/>
                        </a:rPr>
                        <a:t>2</a:t>
                      </a:r>
                      <a:r>
                        <a:rPr sz="1350" spc="-30" baseline="25000" dirty="0">
                          <a:latin typeface="Calibri" panose="020F0502020204030204"/>
                          <a:cs typeface="Calibri" panose="020F0502020204030204"/>
                        </a:rPr>
                        <a:t>+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 marR="17145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Титриметрический</a:t>
                      </a:r>
                      <a:r>
                        <a:rPr sz="1400" spc="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(капельный) Титриметрический</a:t>
                      </a:r>
                      <a:r>
                        <a:rPr sz="1400" spc="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(объемный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5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0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моль/л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экв.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05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0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моль/л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экв.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7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(10)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моль/л</a:t>
                      </a:r>
                      <a:r>
                        <a:rPr sz="1400" spc="-5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экв.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66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2,5-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1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10-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25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5585">
                <a:tc gridSpan="5"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Массовая</a:t>
                      </a:r>
                      <a:r>
                        <a:rPr sz="1400" b="1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концентрация</a:t>
                      </a:r>
                      <a:r>
                        <a:rPr sz="1400" b="1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анионов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5585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Гидрокарбонат</a:t>
                      </a:r>
                      <a:r>
                        <a:rPr sz="14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(</a:t>
                      </a:r>
                      <a:r>
                        <a:rPr sz="1400" i="1" dirty="0">
                          <a:latin typeface="Calibri" panose="020F0502020204030204"/>
                          <a:cs typeface="Calibri" panose="020F0502020204030204"/>
                        </a:rPr>
                        <a:t>HCO</a:t>
                      </a:r>
                      <a:r>
                        <a:rPr sz="1350" i="1" baseline="-22000" dirty="0">
                          <a:latin typeface="Calibri" panose="020F0502020204030204"/>
                          <a:cs typeface="Calibri" panose="020F0502020204030204"/>
                        </a:rPr>
                        <a:t>3</a:t>
                      </a:r>
                      <a:r>
                        <a:rPr sz="1350" i="1" baseline="250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r>
                        <a:rPr sz="1400" spc="-50" dirty="0">
                          <a:latin typeface="Calibri" panose="020F0502020204030204"/>
                          <a:cs typeface="Calibri" panose="020F0502020204030204"/>
                        </a:rPr>
                        <a:t>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Тит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10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2500</a:t>
                      </a:r>
                      <a:r>
                        <a:rPr sz="1400" spc="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000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1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5585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Карбонат (</a:t>
                      </a:r>
                      <a:r>
                        <a:rPr sz="1400" i="1" dirty="0">
                          <a:latin typeface="Calibri" panose="020F0502020204030204"/>
                          <a:cs typeface="Calibri" panose="020F0502020204030204"/>
                        </a:rPr>
                        <a:t>CO</a:t>
                      </a:r>
                      <a:r>
                        <a:rPr sz="1350" i="1" baseline="-22000" dirty="0">
                          <a:latin typeface="Calibri" panose="020F0502020204030204"/>
                          <a:cs typeface="Calibri" panose="020F0502020204030204"/>
                        </a:rPr>
                        <a:t>3</a:t>
                      </a:r>
                      <a:r>
                        <a:rPr sz="1350" i="1" baseline="25000" dirty="0">
                          <a:latin typeface="Calibri" panose="020F0502020204030204"/>
                          <a:cs typeface="Calibri" panose="020F0502020204030204"/>
                        </a:rPr>
                        <a:t>2-</a:t>
                      </a:r>
                      <a:r>
                        <a:rPr sz="1400" spc="-50" dirty="0">
                          <a:latin typeface="Calibri" panose="020F0502020204030204"/>
                          <a:cs typeface="Calibri" panose="020F0502020204030204"/>
                        </a:rPr>
                        <a:t>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</a:pPr>
                      <a:r>
                        <a:rPr sz="1400" spc="-65" dirty="0">
                          <a:latin typeface="Calibri" panose="020F0502020204030204"/>
                          <a:cs typeface="Calibri" panose="020F0502020204030204"/>
                        </a:rPr>
                        <a:t>То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же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10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2500</a:t>
                      </a:r>
                      <a:r>
                        <a:rPr sz="1400" spc="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00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1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9560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22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Карбонатная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жесткость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7939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220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Расчетны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7939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22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7939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22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20</a:t>
                      </a:r>
                      <a:r>
                        <a:rPr sz="1400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моль/л</a:t>
                      </a:r>
                      <a:r>
                        <a:rPr sz="1400" spc="-5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экв.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7939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22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7939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4950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Нитрат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(</a:t>
                      </a:r>
                      <a:r>
                        <a:rPr sz="1400" i="1" dirty="0">
                          <a:latin typeface="Calibri" panose="020F0502020204030204"/>
                          <a:cs typeface="Calibri" panose="020F0502020204030204"/>
                        </a:rPr>
                        <a:t>NO</a:t>
                      </a:r>
                      <a:r>
                        <a:rPr sz="1350" i="1" baseline="-22000" dirty="0">
                          <a:latin typeface="Calibri" panose="020F0502020204030204"/>
                          <a:cs typeface="Calibri" panose="020F0502020204030204"/>
                        </a:rPr>
                        <a:t>3</a:t>
                      </a:r>
                      <a:r>
                        <a:rPr sz="1350" i="1" baseline="250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r>
                        <a:rPr sz="1400" spc="-50" dirty="0">
                          <a:latin typeface="Calibri" panose="020F0502020204030204"/>
                          <a:cs typeface="Calibri" panose="020F0502020204030204"/>
                        </a:rPr>
                        <a:t>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оло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5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50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45</a:t>
                      </a:r>
                      <a:r>
                        <a:rPr sz="14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6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35585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Нитрит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(</a:t>
                      </a:r>
                      <a:r>
                        <a:rPr sz="1400" i="1" dirty="0">
                          <a:latin typeface="Calibri" panose="020F0502020204030204"/>
                          <a:cs typeface="Calibri" panose="020F0502020204030204"/>
                        </a:rPr>
                        <a:t>NO</a:t>
                      </a:r>
                      <a:r>
                        <a:rPr sz="1350" i="1" baseline="-22000" dirty="0">
                          <a:latin typeface="Calibri" panose="020F0502020204030204"/>
                          <a:cs typeface="Calibri" panose="020F0502020204030204"/>
                        </a:rPr>
                        <a:t>2</a:t>
                      </a:r>
                      <a:r>
                        <a:rPr sz="1350" i="1" baseline="250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r>
                        <a:rPr sz="1400" spc="-50" dirty="0">
                          <a:latin typeface="Calibri" panose="020F0502020204030204"/>
                          <a:cs typeface="Calibri" panose="020F0502020204030204"/>
                        </a:rPr>
                        <a:t>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оло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02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,0</a:t>
                      </a:r>
                      <a:r>
                        <a:rPr sz="1400" spc="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0,1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5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35585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Сульфат</a:t>
                      </a:r>
                      <a:r>
                        <a:rPr sz="1400" spc="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(</a:t>
                      </a:r>
                      <a:r>
                        <a:rPr sz="1400" i="1" dirty="0">
                          <a:latin typeface="Calibri" panose="020F0502020204030204"/>
                          <a:cs typeface="Calibri" panose="020F0502020204030204"/>
                        </a:rPr>
                        <a:t>SO</a:t>
                      </a:r>
                      <a:r>
                        <a:rPr sz="1350" i="1" baseline="-22000" dirty="0">
                          <a:latin typeface="Calibri" panose="020F0502020204030204"/>
                          <a:cs typeface="Calibri" panose="020F0502020204030204"/>
                        </a:rPr>
                        <a:t>4</a:t>
                      </a:r>
                      <a:r>
                        <a:rPr sz="1350" i="1" baseline="25000" dirty="0">
                          <a:latin typeface="Calibri" panose="020F0502020204030204"/>
                          <a:cs typeface="Calibri" panose="020F0502020204030204"/>
                        </a:rPr>
                        <a:t>2-</a:t>
                      </a:r>
                      <a:r>
                        <a:rPr sz="1400" spc="-50" dirty="0">
                          <a:latin typeface="Calibri" panose="020F0502020204030204"/>
                          <a:cs typeface="Calibri" panose="020F0502020204030204"/>
                        </a:rPr>
                        <a:t>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Турбид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30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70</a:t>
                      </a:r>
                      <a:r>
                        <a:rPr sz="1400" spc="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500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3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35585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Фторид</a:t>
                      </a:r>
                      <a:r>
                        <a:rPr sz="1400" spc="-4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(</a:t>
                      </a:r>
                      <a:r>
                        <a:rPr sz="1400" i="1" dirty="0">
                          <a:latin typeface="Calibri" panose="020F0502020204030204"/>
                          <a:cs typeface="Calibri" panose="020F0502020204030204"/>
                        </a:rPr>
                        <a:t>F</a:t>
                      </a:r>
                      <a:r>
                        <a:rPr sz="1350" i="1" baseline="250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r>
                        <a:rPr sz="1400" i="1" spc="-50" dirty="0">
                          <a:latin typeface="Calibri" panose="020F0502020204030204"/>
                          <a:cs typeface="Calibri" panose="020F0502020204030204"/>
                        </a:rPr>
                        <a:t>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оло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3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2,0</a:t>
                      </a:r>
                      <a:r>
                        <a:rPr sz="14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7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,5</a:t>
                      </a:r>
                      <a:r>
                        <a:rPr sz="14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5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17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78721" y="6560531"/>
            <a:ext cx="2876146" cy="153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3" name="object 2"/>
          <p:cNvSpPr txBox="1">
            <a:spLocks noGrp="1"/>
          </p:cNvSpPr>
          <p:nvPr>
            <p:ph type="title"/>
          </p:nvPr>
        </p:nvSpPr>
        <p:spPr>
          <a:xfrm>
            <a:off x="1861820" y="148472"/>
            <a:ext cx="10972800" cy="368935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lvl="1" algn="l" rtl="0">
              <a:lnSpc>
                <a:spcPct val="100000"/>
              </a:lnSpc>
              <a:spcBef>
                <a:spcPts val="0"/>
              </a:spcBef>
            </a:pPr>
            <a:r>
              <a:rPr lang="ru-RU" altLang="en-GB" sz="2400" b="1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Методы определения различных показателей качества воды</a:t>
            </a:r>
          </a:p>
        </p:txBody>
      </p:sp>
      <p:graphicFrame>
        <p:nvGraphicFramePr>
          <p:cNvPr id="4" name="object 21"/>
          <p:cNvGraphicFramePr>
            <a:graphicFrameLocks noGrp="1"/>
          </p:cNvGraphicFramePr>
          <p:nvPr/>
        </p:nvGraphicFramePr>
        <p:xfrm>
          <a:off x="804049" y="1404366"/>
          <a:ext cx="10309224" cy="29152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618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618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618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618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618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34975">
                <a:tc>
                  <a:txBody>
                    <a:bodyPr/>
                    <a:lstStyle/>
                    <a:p>
                      <a:pPr algn="ctr">
                        <a:lnSpc>
                          <a:spcPts val="1625"/>
                        </a:lnSpc>
                      </a:pP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Наименование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показателя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41935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Метод</a:t>
                      </a:r>
                      <a:r>
                        <a:rPr sz="1400" b="1" spc="-5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определения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ts val="1625"/>
                        </a:lnSpc>
                      </a:pP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Диапазон</a:t>
                      </a:r>
                      <a:r>
                        <a:rPr sz="1400" b="1" spc="-6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определяемых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концентраций*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00025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Норматив</a:t>
                      </a:r>
                      <a:r>
                        <a:rPr sz="1400" b="1" spc="-5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качества**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ts val="1625"/>
                        </a:lnSpc>
                      </a:pP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Объем</a:t>
                      </a:r>
                      <a:r>
                        <a:rPr sz="1400" b="1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пробы</a:t>
                      </a:r>
                      <a:r>
                        <a:rPr sz="1400" b="1" spc="-4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25" dirty="0">
                          <a:latin typeface="Calibri" panose="020F0502020204030204"/>
                          <a:cs typeface="Calibri" panose="020F0502020204030204"/>
                        </a:rPr>
                        <a:t>для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анализа,</a:t>
                      </a:r>
                      <a:r>
                        <a:rPr sz="1400" b="1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25" dirty="0">
                          <a:latin typeface="Calibri" panose="020F0502020204030204"/>
                          <a:cs typeface="Calibri" panose="020F0502020204030204"/>
                        </a:rPr>
                        <a:t>м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8945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Хлорид</a:t>
                      </a:r>
                      <a:r>
                        <a:rPr sz="1400" spc="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(</a:t>
                      </a:r>
                      <a:r>
                        <a:rPr sz="1400" i="1" spc="-10" dirty="0">
                          <a:latin typeface="Calibri" panose="020F0502020204030204"/>
                          <a:cs typeface="Calibri" panose="020F0502020204030204"/>
                        </a:rPr>
                        <a:t>Cl</a:t>
                      </a:r>
                      <a:r>
                        <a:rPr sz="1350" spc="-15" baseline="250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r>
                        <a:rPr sz="1400" spc="-50" dirty="0">
                          <a:latin typeface="Calibri" panose="020F0502020204030204"/>
                          <a:cs typeface="Calibri" panose="020F0502020204030204"/>
                        </a:rPr>
                        <a:t>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6045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Тит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604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ts val="168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20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000</a:t>
                      </a:r>
                      <a:r>
                        <a:rPr sz="1400" spc="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1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200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350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604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ts val="1680"/>
                        </a:lnSpc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1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25-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50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8945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Ортофосфат</a:t>
                      </a:r>
                      <a:r>
                        <a:rPr sz="1400" spc="5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(</a:t>
                      </a:r>
                      <a:r>
                        <a:rPr sz="1400" i="1" dirty="0">
                          <a:latin typeface="Calibri" panose="020F0502020204030204"/>
                          <a:cs typeface="Calibri" panose="020F0502020204030204"/>
                        </a:rPr>
                        <a:t>РО</a:t>
                      </a:r>
                      <a:r>
                        <a:rPr sz="1350" i="1" baseline="-22000" dirty="0">
                          <a:latin typeface="Calibri" panose="020F0502020204030204"/>
                          <a:cs typeface="Calibri" panose="020F0502020204030204"/>
                        </a:rPr>
                        <a:t>4</a:t>
                      </a:r>
                      <a:r>
                        <a:rPr sz="1350" i="1" baseline="25000" dirty="0">
                          <a:latin typeface="Calibri" panose="020F0502020204030204"/>
                          <a:cs typeface="Calibri" panose="020F0502020204030204"/>
                        </a:rPr>
                        <a:t>3-</a:t>
                      </a:r>
                      <a:r>
                        <a:rPr sz="1400" spc="-50" dirty="0">
                          <a:latin typeface="Calibri" panose="020F0502020204030204"/>
                          <a:cs typeface="Calibri" panose="020F0502020204030204"/>
                        </a:rPr>
                        <a:t>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6680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 marR="48260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олориметрический Тит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2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7,0</a:t>
                      </a:r>
                      <a:r>
                        <a:rPr sz="14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1,0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00</a:t>
                      </a:r>
                      <a:r>
                        <a:rPr sz="14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3,5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66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2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1-</a:t>
                      </a:r>
                      <a:r>
                        <a:rPr sz="1400" spc="-50" dirty="0">
                          <a:latin typeface="Calibri" panose="020F0502020204030204"/>
                          <a:cs typeface="Calibri" panose="020F0502020204030204"/>
                        </a:rPr>
                        <a:t>5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5585">
                <a:tc gridSpan="5">
                  <a:txBody>
                    <a:bodyPr/>
                    <a:lstStyle/>
                    <a:p>
                      <a:pPr marL="22225">
                        <a:lnSpc>
                          <a:spcPts val="1680"/>
                        </a:lnSpc>
                      </a:pP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5.</a:t>
                      </a:r>
                      <a:r>
                        <a:rPr sz="1400" b="1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Важнейшие</a:t>
                      </a:r>
                      <a:r>
                        <a:rPr sz="1400" b="1" spc="-5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dirty="0">
                          <a:latin typeface="Calibri" panose="020F0502020204030204"/>
                          <a:cs typeface="Calibri" panose="020F0502020204030204"/>
                        </a:rPr>
                        <a:t>органические</a:t>
                      </a:r>
                      <a:r>
                        <a:rPr sz="1400" b="1" spc="-6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b="1" spc="-10" dirty="0">
                          <a:latin typeface="Calibri" panose="020F0502020204030204"/>
                          <a:cs typeface="Calibri" panose="020F0502020204030204"/>
                        </a:rPr>
                        <a:t>загрязнители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230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45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2222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Нефтепродукты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270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 marR="38608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Бумажно- хроматографический,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с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экстракцие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45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228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1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20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27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45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228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0,3</a:t>
                      </a:r>
                      <a:r>
                        <a:rPr sz="14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(0,1)</a:t>
                      </a:r>
                      <a:r>
                        <a:rPr sz="14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27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45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228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250-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100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27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8945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ПАВ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анионоактивные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6680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олориметрический,</a:t>
                      </a:r>
                      <a:r>
                        <a:rPr sz="1400" spc="8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50" dirty="0">
                          <a:latin typeface="Calibri" panose="020F0502020204030204"/>
                          <a:cs typeface="Calibri" panose="020F0502020204030204"/>
                        </a:rPr>
                        <a:t>с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22225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экстракцие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3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5,0</a:t>
                      </a:r>
                      <a:r>
                        <a:rPr sz="14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66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0,5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66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1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66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5585"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Фенолы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225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олориметрическ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0,001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1,0</a:t>
                      </a:r>
                      <a:r>
                        <a:rPr sz="1400" spc="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0,1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(0,001)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мг/л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500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18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78721" y="6560531"/>
            <a:ext cx="2876146" cy="153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3" name="object 2"/>
          <p:cNvSpPr txBox="1">
            <a:spLocks noGrp="1"/>
          </p:cNvSpPr>
          <p:nvPr>
            <p:ph type="title"/>
          </p:nvPr>
        </p:nvSpPr>
        <p:spPr>
          <a:xfrm>
            <a:off x="1859915" y="206375"/>
            <a:ext cx="9879965" cy="492125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lvl="2" algn="l" rtl="0">
              <a:spcBef>
                <a:spcPts val="0"/>
              </a:spcBef>
            </a:pPr>
            <a:r>
              <a:rPr lang="ru-RU" altLang="en-GB" sz="3200" b="1">
                <a:solidFill>
                  <a:srgbClr val="2D2B8D"/>
                </a:solidFill>
                <a:cs typeface="Arial" panose="020B0604020202020204" pitchFamily="34" charset="0"/>
                <a:sym typeface="+mn-ea"/>
              </a:rPr>
              <a:t>Показатели санитарного состояния почвы</a:t>
            </a:r>
          </a:p>
        </p:txBody>
      </p:sp>
      <p:graphicFrame>
        <p:nvGraphicFramePr>
          <p:cNvPr id="23" name="object 23"/>
          <p:cNvGraphicFramePr>
            <a:graphicFrameLocks noGrp="1"/>
          </p:cNvGraphicFramePr>
          <p:nvPr/>
        </p:nvGraphicFramePr>
        <p:xfrm>
          <a:off x="235826" y="999363"/>
          <a:ext cx="11701779" cy="542861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463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54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702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b="1" spc="-20" dirty="0">
                          <a:latin typeface="Calibri" panose="020F0502020204030204"/>
                          <a:cs typeface="Calibri" panose="020F0502020204030204"/>
                        </a:rPr>
                        <a:t>Группа</a:t>
                      </a:r>
                      <a:r>
                        <a:rPr sz="1600" b="1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600" b="1" spc="-10" dirty="0">
                          <a:latin typeface="Calibri" panose="020F0502020204030204"/>
                          <a:cs typeface="Calibri" panose="020F0502020204030204"/>
                        </a:rPr>
                        <a:t>показателей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889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b="1" spc="-10" dirty="0">
                          <a:latin typeface="Calibri" panose="020F0502020204030204"/>
                          <a:cs typeface="Calibri" panose="020F0502020204030204"/>
                        </a:rPr>
                        <a:t>Показатели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889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326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50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4318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Санитарно-физические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444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3815" marR="795020">
                        <a:lnSpc>
                          <a:spcPct val="100000"/>
                        </a:lnSpc>
                        <a:spcBef>
                          <a:spcPts val="8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еханический</a:t>
                      </a:r>
                      <a:r>
                        <a:rPr sz="1400" spc="-5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состав,</a:t>
                      </a:r>
                      <a:r>
                        <a:rPr sz="1400" spc="-6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коэффициент</a:t>
                      </a:r>
                      <a:r>
                        <a:rPr sz="1400" spc="-5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фильтрации,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воздухопроницаемость, влагопроницаемость,</a:t>
                      </a:r>
                      <a:r>
                        <a:rPr sz="1400" spc="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апиллярность,</a:t>
                      </a:r>
                      <a:r>
                        <a:rPr sz="1400" spc="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влагоемкость,</a:t>
                      </a:r>
                      <a:r>
                        <a:rPr sz="1400" spc="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общая</a:t>
                      </a:r>
                      <a:r>
                        <a:rPr sz="1400" spc="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и</a:t>
                      </a:r>
                      <a:r>
                        <a:rPr sz="1400" spc="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гигроскопическая влажность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16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165">
                <a:tc>
                  <a:txBody>
                    <a:bodyPr/>
                    <a:lstStyle/>
                    <a:p>
                      <a:pPr marL="4318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Физико-химические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429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381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Активная</a:t>
                      </a:r>
                      <a:r>
                        <a:rPr sz="1400" spc="-4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реакция</a:t>
                      </a:r>
                      <a:r>
                        <a:rPr sz="14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(рН),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емкость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поглощения,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сумма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поглощенных</a:t>
                      </a:r>
                      <a:r>
                        <a:rPr sz="1400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основ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429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6540">
                <a:tc>
                  <a:txBody>
                    <a:bodyPr/>
                    <a:lstStyle/>
                    <a:p>
                      <a:pPr marL="43180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Показатели</a:t>
                      </a:r>
                      <a:r>
                        <a:rPr sz="1400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химической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безопасности: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7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9900">
                <a:tc>
                  <a:txBody>
                    <a:bodyPr/>
                    <a:lstStyle/>
                    <a:p>
                      <a:pPr marL="43180">
                        <a:lnSpc>
                          <a:spcPct val="100000"/>
                        </a:lnSpc>
                        <a:spcBef>
                          <a:spcPts val="92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r>
                        <a:rPr sz="1400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химические</a:t>
                      </a:r>
                      <a:r>
                        <a:rPr sz="1400" spc="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вещества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естественного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происхождения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1747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3815">
                        <a:lnSpc>
                          <a:spcPct val="100000"/>
                        </a:lnSpc>
                        <a:spcBef>
                          <a:spcPts val="8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Фоновое</a:t>
                      </a:r>
                      <a:r>
                        <a:rPr sz="1400" spc="-5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содержание</a:t>
                      </a:r>
                      <a:r>
                        <a:rPr sz="14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валовых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и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подвижных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форм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акро-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и</a:t>
                      </a:r>
                      <a:r>
                        <a:rPr sz="14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микроэлементов чисто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4381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почвы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16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9661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50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43180" marR="553085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r>
                        <a:rPr sz="14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химические</a:t>
                      </a:r>
                      <a:r>
                        <a:rPr sz="1400" spc="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вещества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антропогенного</a:t>
                      </a:r>
                      <a:r>
                        <a:rPr sz="1400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происхождения (показатели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загрязнения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почвы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ЭХВ)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50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3815" marR="48260" algn="just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Остаточные</a:t>
                      </a:r>
                      <a:r>
                        <a:rPr sz="1400" spc="-5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количества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пестицидов,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валовое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содержание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тяжелых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еталлов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и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мышьяка, содержание</a:t>
                      </a:r>
                      <a:r>
                        <a:rPr sz="1400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подвижных</a:t>
                      </a:r>
                      <a:r>
                        <a:rPr sz="1400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форм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тяжелых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еталлов,</a:t>
                      </a:r>
                      <a:r>
                        <a:rPr sz="1400" spc="-6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содержание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нефти</a:t>
                      </a:r>
                      <a:r>
                        <a:rPr sz="14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и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нефтепродуктов, содержание</a:t>
                      </a:r>
                      <a:r>
                        <a:rPr sz="14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серных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соединений,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содержание канцерогенных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веществ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(бенз(а)пирена)</a:t>
                      </a:r>
                      <a:r>
                        <a:rPr sz="1400" spc="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50" dirty="0">
                          <a:latin typeface="Calibri" panose="020F0502020204030204"/>
                          <a:cs typeface="Calibri" panose="020F0502020204030204"/>
                        </a:rPr>
                        <a:t>и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т.п.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7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6540">
                <a:tc>
                  <a:txBody>
                    <a:bodyPr/>
                    <a:lstStyle/>
                    <a:p>
                      <a:pPr marL="43180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Показатели</a:t>
                      </a:r>
                      <a:r>
                        <a:rPr sz="1400" spc="-4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эпидемической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безопасности: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7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6515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10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4318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r>
                        <a:rPr sz="1400" spc="5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санитарно-химические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444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3815">
                        <a:lnSpc>
                          <a:spcPct val="100000"/>
                        </a:lnSpc>
                        <a:spcBef>
                          <a:spcPts val="460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Общий</a:t>
                      </a:r>
                      <a:r>
                        <a:rPr sz="1400" spc="-4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органический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азот,</a:t>
                      </a:r>
                      <a:r>
                        <a:rPr sz="1400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санитарное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число</a:t>
                      </a:r>
                      <a:r>
                        <a:rPr sz="14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Хлебникова,</a:t>
                      </a:r>
                      <a:r>
                        <a:rPr sz="1400" spc="-4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азот</a:t>
                      </a:r>
                      <a:r>
                        <a:rPr sz="1400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аммиака,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азот</a:t>
                      </a:r>
                      <a:r>
                        <a:rPr sz="1400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нитритов,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43815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азот</a:t>
                      </a:r>
                      <a:r>
                        <a:rPr sz="1400" spc="-5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нитратов,</a:t>
                      </a:r>
                      <a:r>
                        <a:rPr sz="1400" spc="-5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органический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углерод,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хлориды,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окисляемость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почвы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58419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8326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50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43180">
                        <a:lnSpc>
                          <a:spcPct val="100000"/>
                        </a:lnSpc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r>
                        <a:rPr sz="1400" spc="6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санитарно-микробиологические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50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3815" marR="346075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Общее</a:t>
                      </a:r>
                      <a:r>
                        <a:rPr sz="1400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число</a:t>
                      </a:r>
                      <a:r>
                        <a:rPr sz="14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почвенных</a:t>
                      </a:r>
                      <a:r>
                        <a:rPr sz="1400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икроорганизмов,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микробное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число,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титр</a:t>
                      </a:r>
                      <a:r>
                        <a:rPr sz="1400" spc="-4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бактерий</a:t>
                      </a:r>
                      <a:r>
                        <a:rPr sz="14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группы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кишечной</a:t>
                      </a:r>
                      <a:r>
                        <a:rPr sz="14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палочки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(коли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титр),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титр анаэробов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(перфрингенс-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титр),</a:t>
                      </a:r>
                      <a:r>
                        <a:rPr sz="1400" spc="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патогенные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бактерии и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вирусы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7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6540">
                <a:tc>
                  <a:txBody>
                    <a:bodyPr/>
                    <a:lstStyle/>
                    <a:p>
                      <a:pPr marL="43180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r>
                        <a:rPr sz="1400" spc="6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санитарно-гельминтологичечские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7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3815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Число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яиц</a:t>
                      </a:r>
                      <a:r>
                        <a:rPr sz="14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гельминтов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7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6540">
                <a:tc>
                  <a:txBody>
                    <a:bodyPr/>
                    <a:lstStyle/>
                    <a:p>
                      <a:pPr marL="43180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-</a:t>
                      </a:r>
                      <a:r>
                        <a:rPr sz="1400" spc="6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санитарно-энтомологические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7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3815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Число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личинок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и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куколок</a:t>
                      </a:r>
                      <a:r>
                        <a:rPr sz="14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25" dirty="0">
                          <a:latin typeface="Calibri" panose="020F0502020204030204"/>
                          <a:cs typeface="Calibri" panose="020F0502020204030204"/>
                        </a:rPr>
                        <a:t>мух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7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6540">
                <a:tc>
                  <a:txBody>
                    <a:bodyPr/>
                    <a:lstStyle/>
                    <a:p>
                      <a:pPr marL="43180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Показатели</a:t>
                      </a: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радиационной</a:t>
                      </a:r>
                      <a:r>
                        <a:rPr sz="14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безопасности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7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3815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Активность</a:t>
                      </a:r>
                      <a:r>
                        <a:rPr sz="1400" spc="-6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почвы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079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6540">
                <a:tc>
                  <a:txBody>
                    <a:bodyPr/>
                    <a:lstStyle/>
                    <a:p>
                      <a:pPr marL="43180">
                        <a:lnSpc>
                          <a:spcPct val="100000"/>
                        </a:lnSpc>
                        <a:spcBef>
                          <a:spcPts val="90"/>
                        </a:spcBef>
                      </a:pP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Показатели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самоочищения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 почвы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143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3815">
                        <a:lnSpc>
                          <a:spcPct val="100000"/>
                        </a:lnSpc>
                        <a:spcBef>
                          <a:spcPts val="90"/>
                        </a:spcBef>
                      </a:pPr>
                      <a:r>
                        <a:rPr sz="1400" spc="-20" dirty="0">
                          <a:latin typeface="Calibri" panose="020F0502020204030204"/>
                          <a:cs typeface="Calibri" panose="020F0502020204030204"/>
                        </a:rPr>
                        <a:t>Титр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и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индекс</a:t>
                      </a:r>
                      <a:r>
                        <a:rPr sz="14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dirty="0">
                          <a:latin typeface="Calibri" panose="020F0502020204030204"/>
                          <a:cs typeface="Calibri" panose="020F0502020204030204"/>
                        </a:rPr>
                        <a:t>термофильных</a:t>
                      </a:r>
                      <a:r>
                        <a:rPr sz="14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400" spc="-10" dirty="0">
                          <a:latin typeface="Calibri" panose="020F0502020204030204"/>
                          <a:cs typeface="Calibri" panose="020F0502020204030204"/>
                        </a:rPr>
                        <a:t>бактерий</a:t>
                      </a:r>
                      <a:endParaRPr sz="14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143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19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78721" y="6560531"/>
            <a:ext cx="2876146" cy="153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3" name="object 2"/>
          <p:cNvSpPr txBox="1">
            <a:spLocks noGrp="1"/>
          </p:cNvSpPr>
          <p:nvPr>
            <p:ph type="title"/>
          </p:nvPr>
        </p:nvSpPr>
        <p:spPr>
          <a:xfrm>
            <a:off x="1778635" y="97155"/>
            <a:ext cx="10064750" cy="492125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lvl="1" algn="l" rtl="0">
              <a:spcBef>
                <a:spcPts val="0"/>
              </a:spcBef>
            </a:pPr>
            <a:r>
              <a:rPr lang="ru-RU" altLang="en-GB" sz="3200" b="1">
                <a:solidFill>
                  <a:srgbClr val="2D2B8D"/>
                </a:solidFill>
                <a:cs typeface="Arial" panose="020B0604020202020204" pitchFamily="34" charset="0"/>
                <a:sym typeface="+mn-ea"/>
              </a:rPr>
              <a:t>Показатели биологической активности почвы</a:t>
            </a:r>
          </a:p>
        </p:txBody>
      </p:sp>
      <p:sp>
        <p:nvSpPr>
          <p:cNvPr id="23" name="object 23"/>
          <p:cNvSpPr txBox="1"/>
          <p:nvPr/>
        </p:nvSpPr>
        <p:spPr>
          <a:xfrm>
            <a:off x="350469" y="1010666"/>
            <a:ext cx="11132820" cy="48596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i="1" dirty="0">
                <a:latin typeface="Calibri" panose="020F0502020204030204"/>
                <a:cs typeface="Calibri" panose="020F0502020204030204"/>
              </a:rPr>
              <a:t>На</a:t>
            </a:r>
            <a:r>
              <a:rPr sz="2400" b="1" i="1" spc="-3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b="1" i="1" dirty="0">
                <a:latin typeface="Calibri" panose="020F0502020204030204"/>
                <a:cs typeface="Calibri" panose="020F0502020204030204"/>
              </a:rPr>
              <a:t>первом</a:t>
            </a:r>
            <a:r>
              <a:rPr sz="2400" b="1" i="1" spc="-3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b="1" i="1" dirty="0">
                <a:latin typeface="Calibri" panose="020F0502020204030204"/>
                <a:cs typeface="Calibri" panose="020F0502020204030204"/>
              </a:rPr>
              <a:t>этапе</a:t>
            </a:r>
            <a:r>
              <a:rPr sz="2400" b="1" i="1" spc="-2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b="1" i="1" spc="-10" dirty="0">
                <a:latin typeface="Calibri" panose="020F0502020204030204"/>
                <a:cs typeface="Calibri" panose="020F0502020204030204"/>
              </a:rPr>
              <a:t>исследований:</a:t>
            </a:r>
            <a:endParaRPr sz="2400">
              <a:latin typeface="Calibri" panose="020F0502020204030204"/>
              <a:cs typeface="Calibri" panose="020F0502020204030204"/>
            </a:endParaRPr>
          </a:p>
          <a:p>
            <a:pPr marL="12700">
              <a:lnSpc>
                <a:spcPct val="100000"/>
              </a:lnSpc>
            </a:pPr>
            <a:r>
              <a:rPr sz="2400" dirty="0">
                <a:latin typeface="Calibri" panose="020F0502020204030204"/>
                <a:cs typeface="Calibri" panose="020F0502020204030204"/>
              </a:rPr>
              <a:t>«дыхание»</a:t>
            </a:r>
            <a:r>
              <a:rPr sz="2400" spc="-4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почвы,</a:t>
            </a:r>
            <a:r>
              <a:rPr sz="2400" spc="-1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общая</a:t>
            </a:r>
            <a:r>
              <a:rPr sz="2400" spc="-2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микробная</a:t>
            </a:r>
            <a:r>
              <a:rPr sz="2400" spc="-3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численность,</a:t>
            </a:r>
            <a:r>
              <a:rPr sz="2400" spc="-3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spc="-10" dirty="0">
                <a:latin typeface="Calibri" panose="020F0502020204030204"/>
                <a:cs typeface="Calibri" panose="020F0502020204030204"/>
              </a:rPr>
              <a:t>окислительно-восстановительный</a:t>
            </a:r>
            <a:endParaRPr sz="2400">
              <a:latin typeface="Calibri" panose="020F0502020204030204"/>
              <a:cs typeface="Calibri" panose="020F0502020204030204"/>
            </a:endParaRPr>
          </a:p>
          <a:p>
            <a:pPr marL="12700">
              <a:lnSpc>
                <a:spcPct val="100000"/>
              </a:lnSpc>
            </a:pPr>
            <a:r>
              <a:rPr sz="2400" dirty="0">
                <a:latin typeface="Calibri" panose="020F0502020204030204"/>
                <a:cs typeface="Calibri" panose="020F0502020204030204"/>
              </a:rPr>
              <a:t>потенциал</a:t>
            </a:r>
            <a:r>
              <a:rPr sz="2400" spc="-2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и</a:t>
            </a:r>
            <a:r>
              <a:rPr sz="2400" spc="-2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кислотность</a:t>
            </a:r>
            <a:r>
              <a:rPr sz="2400" spc="-4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почв,</a:t>
            </a:r>
            <a:r>
              <a:rPr sz="2400" spc="-2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динамика</a:t>
            </a:r>
            <a:r>
              <a:rPr sz="2400" spc="-3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азота</a:t>
            </a:r>
            <a:r>
              <a:rPr sz="2400" spc="-5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аммиака</a:t>
            </a:r>
            <a:r>
              <a:rPr sz="2400" spc="-2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и</a:t>
            </a:r>
            <a:r>
              <a:rPr sz="2400" spc="-2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spc="-10" dirty="0">
                <a:latin typeface="Calibri" panose="020F0502020204030204"/>
                <a:cs typeface="Calibri" panose="020F0502020204030204"/>
              </a:rPr>
              <a:t>нитратов.</a:t>
            </a:r>
            <a:endParaRPr sz="2400">
              <a:latin typeface="Calibri" panose="020F0502020204030204"/>
              <a:cs typeface="Calibri" panose="020F0502020204030204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2850">
              <a:latin typeface="Calibri" panose="020F0502020204030204"/>
              <a:cs typeface="Calibri" panose="020F0502020204030204"/>
            </a:endParaRPr>
          </a:p>
          <a:p>
            <a:pPr marL="48895">
              <a:lnSpc>
                <a:spcPct val="100000"/>
              </a:lnSpc>
            </a:pPr>
            <a:r>
              <a:rPr sz="2400" b="1" dirty="0">
                <a:latin typeface="Calibri" panose="020F0502020204030204"/>
                <a:cs typeface="Calibri" panose="020F0502020204030204"/>
              </a:rPr>
              <a:t>Основными</a:t>
            </a:r>
            <a:r>
              <a:rPr sz="2400" b="1" spc="-9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b="1" dirty="0">
                <a:latin typeface="Calibri" panose="020F0502020204030204"/>
                <a:cs typeface="Calibri" panose="020F0502020204030204"/>
              </a:rPr>
              <a:t>интегральными</a:t>
            </a:r>
            <a:r>
              <a:rPr sz="2400" b="1" spc="-6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b="1" dirty="0">
                <a:latin typeface="Calibri" panose="020F0502020204030204"/>
                <a:cs typeface="Calibri" panose="020F0502020204030204"/>
              </a:rPr>
              <a:t>показателями</a:t>
            </a:r>
            <a:r>
              <a:rPr sz="2400" b="1" spc="-5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b="1" spc="-10" dirty="0">
                <a:latin typeface="Calibri" panose="020F0502020204030204"/>
                <a:cs typeface="Calibri" panose="020F0502020204030204"/>
              </a:rPr>
              <a:t>являются</a:t>
            </a:r>
            <a:r>
              <a:rPr sz="2400" spc="-10" dirty="0">
                <a:latin typeface="Calibri" panose="020F0502020204030204"/>
                <a:cs typeface="Calibri" panose="020F0502020204030204"/>
              </a:rPr>
              <a:t>:</a:t>
            </a:r>
            <a:endParaRPr sz="2400">
              <a:latin typeface="Calibri" panose="020F0502020204030204"/>
              <a:cs typeface="Calibri" panose="020F0502020204030204"/>
            </a:endParaRPr>
          </a:p>
          <a:p>
            <a:pPr marL="391795" indent="-343535">
              <a:lnSpc>
                <a:spcPct val="100000"/>
              </a:lnSpc>
              <a:buFont typeface="Wingdings" panose="05000000000000000000"/>
              <a:buChar char=""/>
              <a:tabLst>
                <a:tab pos="392430" algn="l"/>
              </a:tabLst>
            </a:pPr>
            <a:r>
              <a:rPr sz="2400" dirty="0">
                <a:latin typeface="Calibri" panose="020F0502020204030204"/>
                <a:cs typeface="Calibri" panose="020F0502020204030204"/>
              </a:rPr>
              <a:t>общая</a:t>
            </a:r>
            <a:r>
              <a:rPr sz="2400" spc="-3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микробная</a:t>
            </a:r>
            <a:r>
              <a:rPr sz="2400" spc="-2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численность</a:t>
            </a:r>
            <a:r>
              <a:rPr sz="2400" spc="-3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spc="-10" dirty="0">
                <a:latin typeface="Calibri" panose="020F0502020204030204"/>
                <a:cs typeface="Calibri" panose="020F0502020204030204"/>
              </a:rPr>
              <a:t>(ОМЧ)</a:t>
            </a:r>
            <a:endParaRPr sz="2400">
              <a:latin typeface="Calibri" panose="020F0502020204030204"/>
              <a:cs typeface="Calibri" panose="020F0502020204030204"/>
            </a:endParaRPr>
          </a:p>
          <a:p>
            <a:pPr marL="391795" marR="1485265" indent="-342900">
              <a:lnSpc>
                <a:spcPct val="100000"/>
              </a:lnSpc>
              <a:buFont typeface="Wingdings" panose="05000000000000000000"/>
              <a:buChar char=""/>
              <a:tabLst>
                <a:tab pos="392430" algn="l"/>
              </a:tabLst>
            </a:pPr>
            <a:r>
              <a:rPr sz="2400" dirty="0">
                <a:latin typeface="Calibri" panose="020F0502020204030204"/>
                <a:cs typeface="Calibri" panose="020F0502020204030204"/>
              </a:rPr>
              <a:t>численность</a:t>
            </a:r>
            <a:r>
              <a:rPr sz="2400" spc="-6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основных</a:t>
            </a:r>
            <a:r>
              <a:rPr sz="2400" spc="-3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групп</a:t>
            </a:r>
            <a:r>
              <a:rPr sz="2400" spc="-4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почвенных</a:t>
            </a:r>
            <a:r>
              <a:rPr sz="2400" spc="-1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микроорганизмов</a:t>
            </a:r>
            <a:r>
              <a:rPr sz="2400" spc="-1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spc="-10" dirty="0">
                <a:latin typeface="Calibri" panose="020F0502020204030204"/>
                <a:cs typeface="Calibri" panose="020F0502020204030204"/>
              </a:rPr>
              <a:t>(почвенных </a:t>
            </a:r>
            <a:r>
              <a:rPr sz="2400" dirty="0">
                <a:latin typeface="Calibri" panose="020F0502020204030204"/>
                <a:cs typeface="Calibri" panose="020F0502020204030204"/>
              </a:rPr>
              <a:t>сапрофитных</a:t>
            </a:r>
            <a:r>
              <a:rPr sz="2400" spc="-5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бактерий,</a:t>
            </a:r>
            <a:r>
              <a:rPr sz="2400" spc="-3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актиномицетов,</a:t>
            </a:r>
            <a:r>
              <a:rPr sz="2400" spc="-3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почвенных</a:t>
            </a:r>
            <a:r>
              <a:rPr sz="2400" spc="-1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spc="-10" dirty="0">
                <a:latin typeface="Calibri" panose="020F0502020204030204"/>
                <a:cs typeface="Calibri" panose="020F0502020204030204"/>
              </a:rPr>
              <a:t>микромицетов)</a:t>
            </a:r>
            <a:endParaRPr sz="2400">
              <a:latin typeface="Calibri" panose="020F0502020204030204"/>
              <a:cs typeface="Calibri" panose="020F0502020204030204"/>
            </a:endParaRPr>
          </a:p>
          <a:p>
            <a:pPr marL="391795" indent="-343535">
              <a:lnSpc>
                <a:spcPct val="100000"/>
              </a:lnSpc>
              <a:spcBef>
                <a:spcPts val="5"/>
              </a:spcBef>
              <a:buFont typeface="Wingdings" panose="05000000000000000000"/>
              <a:buChar char=""/>
              <a:tabLst>
                <a:tab pos="392430" algn="l"/>
              </a:tabLst>
            </a:pPr>
            <a:r>
              <a:rPr sz="2400" dirty="0">
                <a:latin typeface="Calibri" panose="020F0502020204030204"/>
                <a:cs typeface="Calibri" panose="020F0502020204030204"/>
              </a:rPr>
              <a:t>показатели</a:t>
            </a:r>
            <a:r>
              <a:rPr sz="2400" spc="-7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интенсивности</a:t>
            </a:r>
            <a:r>
              <a:rPr sz="2400" spc="-6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трансформации</a:t>
            </a:r>
            <a:r>
              <a:rPr sz="2400" spc="-5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соединений</a:t>
            </a:r>
            <a:r>
              <a:rPr sz="2400" spc="-6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spc="-10" dirty="0">
                <a:latin typeface="Calibri" panose="020F0502020204030204"/>
                <a:cs typeface="Calibri" panose="020F0502020204030204"/>
              </a:rPr>
              <a:t>углерода</a:t>
            </a:r>
            <a:r>
              <a:rPr sz="2400" spc="-6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и</a:t>
            </a:r>
            <a:r>
              <a:rPr sz="2400" spc="-5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азота</a:t>
            </a:r>
            <a:r>
              <a:rPr sz="2400" spc="-7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в</a:t>
            </a:r>
            <a:r>
              <a:rPr sz="2400" spc="-5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spc="-10" dirty="0">
                <a:latin typeface="Calibri" panose="020F0502020204030204"/>
                <a:cs typeface="Calibri" panose="020F0502020204030204"/>
              </a:rPr>
              <a:t>почве</a:t>
            </a:r>
            <a:endParaRPr sz="2400">
              <a:latin typeface="Calibri" panose="020F0502020204030204"/>
              <a:cs typeface="Calibri" panose="020F0502020204030204"/>
            </a:endParaRPr>
          </a:p>
          <a:p>
            <a:pPr marL="391795" marR="732790">
              <a:lnSpc>
                <a:spcPct val="100000"/>
              </a:lnSpc>
            </a:pPr>
            <a:r>
              <a:rPr sz="2400" dirty="0">
                <a:latin typeface="Calibri" panose="020F0502020204030204"/>
                <a:cs typeface="Calibri" panose="020F0502020204030204"/>
              </a:rPr>
              <a:t>(«дыхание»</a:t>
            </a:r>
            <a:r>
              <a:rPr sz="2400" spc="-4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почвы,</a:t>
            </a:r>
            <a:r>
              <a:rPr sz="2400" spc="-3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санитарное</a:t>
            </a:r>
            <a:r>
              <a:rPr sz="2400" spc="-2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число,</a:t>
            </a:r>
            <a:r>
              <a:rPr sz="2400" spc="-3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динамика</a:t>
            </a:r>
            <a:r>
              <a:rPr sz="2400" spc="-3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азота</a:t>
            </a:r>
            <a:r>
              <a:rPr sz="2400" spc="-4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аммиака</a:t>
            </a:r>
            <a:r>
              <a:rPr sz="2400" spc="-3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и</a:t>
            </a:r>
            <a:r>
              <a:rPr sz="2400" spc="-2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нитратов</a:t>
            </a:r>
            <a:r>
              <a:rPr sz="2400" spc="-2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spc="-50" dirty="0">
                <a:latin typeface="Calibri" panose="020F0502020204030204"/>
                <a:cs typeface="Calibri" panose="020F0502020204030204"/>
              </a:rPr>
              <a:t>в </a:t>
            </a:r>
            <a:r>
              <a:rPr sz="2400" dirty="0">
                <a:latin typeface="Calibri" panose="020F0502020204030204"/>
                <a:cs typeface="Calibri" panose="020F0502020204030204"/>
              </a:rPr>
              <a:t>почве,</a:t>
            </a:r>
            <a:r>
              <a:rPr sz="2400" spc="-4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азотфиксация,</a:t>
            </a:r>
            <a:r>
              <a:rPr sz="2400" spc="-6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аммонификация,</a:t>
            </a:r>
            <a:r>
              <a:rPr sz="2400" spc="-2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нитрификация</a:t>
            </a:r>
            <a:r>
              <a:rPr sz="2400" spc="-4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и</a:t>
            </a:r>
            <a:r>
              <a:rPr sz="2400" spc="-3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spc="-10" dirty="0">
                <a:latin typeface="Calibri" panose="020F0502020204030204"/>
                <a:cs typeface="Calibri" panose="020F0502020204030204"/>
              </a:rPr>
              <a:t>денитрификация)</a:t>
            </a:r>
            <a:endParaRPr sz="2400">
              <a:latin typeface="Calibri" panose="020F0502020204030204"/>
              <a:cs typeface="Calibri" panose="020F0502020204030204"/>
            </a:endParaRPr>
          </a:p>
          <a:p>
            <a:pPr marL="391795" marR="247015" indent="-342900">
              <a:lnSpc>
                <a:spcPct val="100000"/>
              </a:lnSpc>
              <a:buFont typeface="Wingdings" panose="05000000000000000000"/>
              <a:buChar char=""/>
              <a:tabLst>
                <a:tab pos="392430" algn="l"/>
              </a:tabLst>
            </a:pPr>
            <a:r>
              <a:rPr sz="2400" dirty="0">
                <a:latin typeface="Calibri" panose="020F0502020204030204"/>
                <a:cs typeface="Calibri" panose="020F0502020204030204"/>
              </a:rPr>
              <a:t>динамика</a:t>
            </a:r>
            <a:r>
              <a:rPr sz="2400" spc="-2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кислотности</a:t>
            </a:r>
            <a:r>
              <a:rPr sz="2400" spc="-1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и</a:t>
            </a:r>
            <a:r>
              <a:rPr sz="2400" spc="-3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spc="-10" dirty="0">
                <a:latin typeface="Calibri" panose="020F0502020204030204"/>
                <a:cs typeface="Calibri" panose="020F0502020204030204"/>
              </a:rPr>
              <a:t>окислительно-восстановительного</a:t>
            </a:r>
            <a:r>
              <a:rPr sz="2400" spc="-2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потенциала</a:t>
            </a:r>
            <a:r>
              <a:rPr sz="2400" spc="-1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в</a:t>
            </a:r>
            <a:r>
              <a:rPr sz="2400" spc="-2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spc="-10" dirty="0">
                <a:latin typeface="Calibri" panose="020F0502020204030204"/>
                <a:cs typeface="Calibri" panose="020F0502020204030204"/>
              </a:rPr>
              <a:t>почве, </a:t>
            </a:r>
            <a:r>
              <a:rPr sz="2400" dirty="0">
                <a:latin typeface="Calibri" panose="020F0502020204030204"/>
                <a:cs typeface="Calibri" panose="020F0502020204030204"/>
              </a:rPr>
              <a:t>активность</a:t>
            </a:r>
            <a:r>
              <a:rPr sz="2400" spc="-6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ферментативных</a:t>
            </a:r>
            <a:r>
              <a:rPr sz="2400" spc="-2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систем</a:t>
            </a:r>
            <a:r>
              <a:rPr sz="2400" spc="-5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и</a:t>
            </a:r>
            <a:r>
              <a:rPr sz="2400" spc="-3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другие</a:t>
            </a:r>
            <a:r>
              <a:rPr sz="2400" spc="-4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spc="-10" dirty="0">
                <a:latin typeface="Calibri" panose="020F0502020204030204"/>
                <a:cs typeface="Calibri" panose="020F0502020204030204"/>
              </a:rPr>
              <a:t>показатели.</a:t>
            </a:r>
            <a:endParaRPr sz="2400">
              <a:latin typeface="Calibri" panose="020F0502020204030204"/>
              <a:cs typeface="Calibri" panose="020F0502020204030204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2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804103" y="131906"/>
            <a:ext cx="10029387" cy="5092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3200" b="1" dirty="0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Проекты в школе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37987" y="6539932"/>
            <a:ext cx="3006571" cy="153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7" name="Овал 26"/>
          <p:cNvSpPr/>
          <p:nvPr/>
        </p:nvSpPr>
        <p:spPr>
          <a:xfrm>
            <a:off x="6345555" y="1089167"/>
            <a:ext cx="4701801" cy="1075423"/>
          </a:xfrm>
          <a:prstGeom prst="ellipse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tx1"/>
                </a:solidFill>
              </a:rPr>
              <a:t>Повторяем то, что изучили</a:t>
            </a:r>
            <a:endParaRPr lang="ru-RU" sz="2800" dirty="0"/>
          </a:p>
        </p:txBody>
      </p:sp>
      <p:sp>
        <p:nvSpPr>
          <p:cNvPr id="32" name="Овал 31"/>
          <p:cNvSpPr/>
          <p:nvPr/>
        </p:nvSpPr>
        <p:spPr>
          <a:xfrm>
            <a:off x="7131118" y="3007009"/>
            <a:ext cx="4701801" cy="1075423"/>
          </a:xfrm>
          <a:prstGeom prst="ellipse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tx1"/>
                </a:solidFill>
              </a:rPr>
              <a:t>Изучаем родную природу</a:t>
            </a:r>
            <a:endParaRPr lang="ru-RU" sz="2800" dirty="0"/>
          </a:p>
        </p:txBody>
      </p:sp>
      <p:sp>
        <p:nvSpPr>
          <p:cNvPr id="33" name="Овал 32"/>
          <p:cNvSpPr/>
          <p:nvPr/>
        </p:nvSpPr>
        <p:spPr>
          <a:xfrm>
            <a:off x="6610982" y="4752976"/>
            <a:ext cx="4701801" cy="1400174"/>
          </a:xfrm>
          <a:prstGeom prst="ellipse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tx1"/>
                </a:solidFill>
              </a:rPr>
              <a:t>Учимся применять свои знания на практике</a:t>
            </a:r>
          </a:p>
        </p:txBody>
      </p:sp>
      <p:cxnSp>
        <p:nvCxnSpPr>
          <p:cNvPr id="34" name="Прямая со стрелкой 33"/>
          <p:cNvCxnSpPr>
            <a:stCxn id="227330" idx="7"/>
            <a:endCxn id="27" idx="2"/>
          </p:cNvCxnSpPr>
          <p:nvPr/>
        </p:nvCxnSpPr>
        <p:spPr>
          <a:xfrm flipV="1">
            <a:off x="4462189" y="1626879"/>
            <a:ext cx="1883366" cy="1149067"/>
          </a:xfrm>
          <a:prstGeom prst="straightConnector1">
            <a:avLst/>
          </a:prstGeom>
          <a:ln w="539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endCxn id="33" idx="2"/>
          </p:cNvCxnSpPr>
          <p:nvPr/>
        </p:nvCxnSpPr>
        <p:spPr>
          <a:xfrm>
            <a:off x="4467881" y="4966196"/>
            <a:ext cx="2143101" cy="486867"/>
          </a:xfrm>
          <a:prstGeom prst="straightConnector1">
            <a:avLst/>
          </a:prstGeom>
          <a:ln w="539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endCxn id="32" idx="2"/>
          </p:cNvCxnSpPr>
          <p:nvPr/>
        </p:nvCxnSpPr>
        <p:spPr>
          <a:xfrm flipV="1">
            <a:off x="5247293" y="3544721"/>
            <a:ext cx="1883825" cy="217654"/>
          </a:xfrm>
          <a:prstGeom prst="straightConnector1">
            <a:avLst/>
          </a:prstGeom>
          <a:ln w="539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7330" name="Picture 2" descr="https://kidpassage.com/images/publications/10-letnih-igr-dlya-fantaserov-novyie-idei-dlya-progulok-s-detmi/1067_5bb8439690eecd9fc204edd77527449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87" y="2339298"/>
            <a:ext cx="5066118" cy="298162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4"/>
          <p:cNvSpPr txBox="1">
            <a:spLocks noGrp="1"/>
          </p:cNvSpPr>
          <p:nvPr>
            <p:ph type="body" idx="1"/>
          </p:nvPr>
        </p:nvSpPr>
        <p:spPr>
          <a:xfrm>
            <a:off x="502920" y="945515"/>
            <a:ext cx="10972800" cy="4967600"/>
          </a:xfrm>
          <a:prstGeom prst="rect">
            <a:avLst/>
          </a:prstGeom>
        </p:spPr>
        <p:txBody>
          <a:bodyPr vert="horz" wrap="square" lIns="0" tIns="215620" rIns="0" bIns="0" rtlCol="0">
            <a:spAutoFit/>
          </a:bodyPr>
          <a:lstStyle/>
          <a:p>
            <a:pPr marL="12700" marR="668655">
              <a:lnSpc>
                <a:spcPct val="100000"/>
              </a:lnSpc>
              <a:spcBef>
                <a:spcPts val="95"/>
              </a:spcBef>
            </a:pPr>
            <a:r>
              <a:rPr b="1" spc="-10" dirty="0">
                <a:latin typeface="Calibri" panose="020F0502020204030204"/>
                <a:cs typeface="Calibri" panose="020F0502020204030204"/>
              </a:rPr>
              <a:t>Санитарное</a:t>
            </a:r>
            <a:r>
              <a:rPr b="1" spc="-85" dirty="0">
                <a:latin typeface="Calibri" panose="020F0502020204030204"/>
                <a:cs typeface="Calibri" panose="020F0502020204030204"/>
              </a:rPr>
              <a:t> </a:t>
            </a:r>
            <a:r>
              <a:rPr b="1" dirty="0">
                <a:latin typeface="Calibri" panose="020F0502020204030204"/>
                <a:cs typeface="Calibri" panose="020F0502020204030204"/>
              </a:rPr>
              <a:t>число</a:t>
            </a:r>
            <a:r>
              <a:rPr b="1" spc="-65" dirty="0">
                <a:latin typeface="Calibri" panose="020F0502020204030204"/>
                <a:cs typeface="Calibri" panose="020F0502020204030204"/>
              </a:rPr>
              <a:t> </a:t>
            </a:r>
            <a:r>
              <a:rPr b="1" spc="-25" dirty="0">
                <a:latin typeface="Calibri" panose="020F0502020204030204"/>
                <a:cs typeface="Calibri" panose="020F0502020204030204"/>
              </a:rPr>
              <a:t>Хлебникова</a:t>
            </a:r>
            <a:r>
              <a:rPr b="1" spc="-185" dirty="0">
                <a:latin typeface="Calibri" panose="020F0502020204030204"/>
                <a:cs typeface="Calibri" panose="020F0502020204030204"/>
              </a:rPr>
              <a:t> </a:t>
            </a:r>
            <a:r>
              <a:rPr sz="1800" dirty="0"/>
              <a:t>–</a:t>
            </a:r>
            <a:r>
              <a:rPr sz="1800" spc="-40" dirty="0"/>
              <a:t> </a:t>
            </a:r>
            <a:r>
              <a:rPr spc="-10" dirty="0"/>
              <a:t>отношение</a:t>
            </a:r>
            <a:r>
              <a:rPr spc="-65" dirty="0"/>
              <a:t> </a:t>
            </a:r>
            <a:r>
              <a:rPr dirty="0"/>
              <a:t>азота</a:t>
            </a:r>
            <a:r>
              <a:rPr spc="-65" dirty="0"/>
              <a:t> </a:t>
            </a:r>
            <a:r>
              <a:rPr dirty="0"/>
              <a:t>гумуса</a:t>
            </a:r>
            <a:r>
              <a:rPr spc="-75" dirty="0"/>
              <a:t> </a:t>
            </a:r>
            <a:r>
              <a:rPr spc="-10" dirty="0"/>
              <a:t>(собственно почвенного</a:t>
            </a:r>
            <a:r>
              <a:rPr spc="-95" dirty="0"/>
              <a:t> </a:t>
            </a:r>
            <a:r>
              <a:rPr spc="-10" dirty="0"/>
              <a:t>органического</a:t>
            </a:r>
            <a:r>
              <a:rPr spc="-95" dirty="0"/>
              <a:t> </a:t>
            </a:r>
            <a:r>
              <a:rPr dirty="0"/>
              <a:t>вещества)</a:t>
            </a:r>
            <a:r>
              <a:rPr spc="-110" dirty="0"/>
              <a:t> </a:t>
            </a:r>
            <a:r>
              <a:rPr dirty="0"/>
              <a:t>к</a:t>
            </a:r>
            <a:r>
              <a:rPr spc="-80" dirty="0"/>
              <a:t> </a:t>
            </a:r>
            <a:r>
              <a:rPr spc="-10" dirty="0"/>
              <a:t>общему</a:t>
            </a:r>
            <a:r>
              <a:rPr spc="-125" dirty="0"/>
              <a:t> </a:t>
            </a:r>
            <a:r>
              <a:rPr spc="-10" dirty="0"/>
              <a:t>органическому</a:t>
            </a:r>
            <a:r>
              <a:rPr spc="-105" dirty="0"/>
              <a:t> </a:t>
            </a:r>
            <a:r>
              <a:rPr spc="-10" dirty="0"/>
              <a:t>азоту</a:t>
            </a:r>
            <a:endParaRPr sz="1800">
              <a:latin typeface="Calibri" panose="020F0502020204030204"/>
              <a:cs typeface="Calibri" panose="020F0502020204030204"/>
            </a:endParaRPr>
          </a:p>
          <a:p>
            <a:pPr marL="12700" marR="5080">
              <a:lnSpc>
                <a:spcPct val="100000"/>
              </a:lnSpc>
              <a:spcBef>
                <a:spcPts val="5"/>
              </a:spcBef>
            </a:pPr>
            <a:r>
              <a:rPr spc="-20" dirty="0"/>
              <a:t>(состоящего</a:t>
            </a:r>
            <a:r>
              <a:rPr spc="-75" dirty="0"/>
              <a:t> </a:t>
            </a:r>
            <a:r>
              <a:rPr dirty="0"/>
              <a:t>из</a:t>
            </a:r>
            <a:r>
              <a:rPr spc="-60" dirty="0"/>
              <a:t> </a:t>
            </a:r>
            <a:r>
              <a:rPr dirty="0"/>
              <a:t>азота</a:t>
            </a:r>
            <a:r>
              <a:rPr spc="-75" dirty="0"/>
              <a:t> </a:t>
            </a:r>
            <a:r>
              <a:rPr dirty="0"/>
              <a:t>гумуса</a:t>
            </a:r>
            <a:r>
              <a:rPr spc="-85" dirty="0"/>
              <a:t> </a:t>
            </a:r>
            <a:r>
              <a:rPr dirty="0"/>
              <a:t>и</a:t>
            </a:r>
            <a:r>
              <a:rPr spc="-70" dirty="0"/>
              <a:t> </a:t>
            </a:r>
            <a:r>
              <a:rPr dirty="0"/>
              <a:t>азота</a:t>
            </a:r>
            <a:r>
              <a:rPr spc="-70" dirty="0"/>
              <a:t> </a:t>
            </a:r>
            <a:r>
              <a:rPr spc="-10" dirty="0"/>
              <a:t>посторонних</a:t>
            </a:r>
            <a:r>
              <a:rPr spc="-55" dirty="0"/>
              <a:t> </a:t>
            </a:r>
            <a:r>
              <a:rPr dirty="0"/>
              <a:t>для</a:t>
            </a:r>
            <a:r>
              <a:rPr spc="-70" dirty="0"/>
              <a:t> </a:t>
            </a:r>
            <a:r>
              <a:rPr dirty="0"/>
              <a:t>почвы</a:t>
            </a:r>
            <a:r>
              <a:rPr spc="-60" dirty="0"/>
              <a:t> </a:t>
            </a:r>
            <a:r>
              <a:rPr spc="-10" dirty="0"/>
              <a:t>органических </a:t>
            </a:r>
            <a:r>
              <a:rPr dirty="0"/>
              <a:t>веществ,</a:t>
            </a:r>
            <a:r>
              <a:rPr spc="-105" dirty="0"/>
              <a:t> </a:t>
            </a:r>
            <a:r>
              <a:rPr spc="-10" dirty="0"/>
              <a:t>которые</a:t>
            </a:r>
            <a:r>
              <a:rPr spc="-85" dirty="0"/>
              <a:t> </a:t>
            </a:r>
            <a:r>
              <a:rPr dirty="0"/>
              <a:t>ее</a:t>
            </a:r>
            <a:r>
              <a:rPr spc="-110" dirty="0"/>
              <a:t> </a:t>
            </a:r>
            <a:r>
              <a:rPr spc="-10" dirty="0"/>
              <a:t>загрязняют)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20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78721" y="6560531"/>
            <a:ext cx="2876146" cy="153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3" name="object 2"/>
          <p:cNvSpPr txBox="1">
            <a:spLocks noGrp="1"/>
          </p:cNvSpPr>
          <p:nvPr>
            <p:ph type="title"/>
          </p:nvPr>
        </p:nvSpPr>
        <p:spPr>
          <a:xfrm>
            <a:off x="1952625" y="161290"/>
            <a:ext cx="9700260" cy="5048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altLang="en-GB" sz="3200" b="1" kern="0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Оценка чистоты почвы по санитарному числу</a:t>
            </a:r>
          </a:p>
        </p:txBody>
      </p:sp>
      <p:pic>
        <p:nvPicPr>
          <p:cNvPr id="23" name="object 2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57123" y="4014149"/>
            <a:ext cx="11218726" cy="1517146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21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78721" y="6560531"/>
            <a:ext cx="2876146" cy="153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3" name="object 2"/>
          <p:cNvSpPr txBox="1">
            <a:spLocks noGrp="1"/>
          </p:cNvSpPr>
          <p:nvPr>
            <p:ph type="title"/>
          </p:nvPr>
        </p:nvSpPr>
        <p:spPr>
          <a:xfrm>
            <a:off x="2118995" y="173355"/>
            <a:ext cx="8924925" cy="5048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altLang="en-GB" sz="3200" b="1" kern="0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Методы анализа пестицидов</a:t>
            </a:r>
          </a:p>
        </p:txBody>
      </p:sp>
      <p:graphicFrame>
        <p:nvGraphicFramePr>
          <p:cNvPr id="23" name="object 23"/>
          <p:cNvGraphicFramePr>
            <a:graphicFrameLocks noGrp="1"/>
          </p:cNvGraphicFramePr>
          <p:nvPr/>
        </p:nvGraphicFramePr>
        <p:xfrm>
          <a:off x="439115" y="1158875"/>
          <a:ext cx="11167110" cy="507364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5835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835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197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sz="2000" b="1" dirty="0">
                          <a:latin typeface="Calibri" panose="020F0502020204030204"/>
                          <a:cs typeface="Calibri" panose="020F0502020204030204"/>
                        </a:rPr>
                        <a:t>Класс</a:t>
                      </a:r>
                      <a:r>
                        <a:rPr sz="2000" b="1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2000" b="1" spc="-10" dirty="0">
                          <a:latin typeface="Calibri" panose="020F0502020204030204"/>
                          <a:cs typeface="Calibri" panose="020F0502020204030204"/>
                        </a:rPr>
                        <a:t>пестицидов</a:t>
                      </a:r>
                      <a:endParaRPr sz="20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9271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sz="2000" b="1" dirty="0">
                          <a:latin typeface="Calibri" panose="020F0502020204030204"/>
                          <a:cs typeface="Calibri" panose="020F0502020204030204"/>
                        </a:rPr>
                        <a:t>Методы</a:t>
                      </a:r>
                      <a:r>
                        <a:rPr sz="2000" b="1" spc="-9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2000" b="1" spc="-10" dirty="0">
                          <a:latin typeface="Calibri" panose="020F0502020204030204"/>
                          <a:cs typeface="Calibri" panose="020F0502020204030204"/>
                        </a:rPr>
                        <a:t>анализа</a:t>
                      </a:r>
                      <a:endParaRPr sz="20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9271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37920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1320"/>
                        </a:spcBef>
                      </a:pP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Хлорорганические</a:t>
                      </a:r>
                      <a:r>
                        <a:rPr sz="1700" spc="-5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пестициды</a:t>
                      </a:r>
                      <a:endParaRPr sz="17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91440">
                        <a:lnSpc>
                          <a:spcPct val="100000"/>
                        </a:lnSpc>
                      </a:pP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(гексохлоран,</a:t>
                      </a:r>
                      <a:r>
                        <a:rPr sz="17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ДДТ и</a:t>
                      </a:r>
                      <a:r>
                        <a:rPr sz="17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его</a:t>
                      </a:r>
                      <a:r>
                        <a:rPr sz="17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производные,</a:t>
                      </a:r>
                      <a:endParaRPr sz="17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91440">
                        <a:lnSpc>
                          <a:spcPct val="100000"/>
                        </a:lnSpc>
                      </a:pP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гексохлорбутадиен,</a:t>
                      </a:r>
                      <a:r>
                        <a:rPr sz="1700" spc="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гептахлор,</a:t>
                      </a:r>
                      <a:r>
                        <a:rPr sz="17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хлорофос)</a:t>
                      </a:r>
                      <a:endParaRPr sz="17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6764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2075" marR="369570">
                        <a:lnSpc>
                          <a:spcPct val="100000"/>
                        </a:lnSpc>
                        <a:spcBef>
                          <a:spcPts val="1320"/>
                        </a:spcBef>
                      </a:pPr>
                      <a:r>
                        <a:rPr sz="1700" spc="-20" dirty="0">
                          <a:latin typeface="Calibri" panose="020F0502020204030204"/>
                          <a:cs typeface="Calibri" panose="020F0502020204030204"/>
                        </a:rPr>
                        <a:t>Тонкослойная</a:t>
                      </a:r>
                      <a:r>
                        <a:rPr sz="17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и</a:t>
                      </a:r>
                      <a:r>
                        <a:rPr sz="17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газовая</a:t>
                      </a:r>
                      <a:r>
                        <a:rPr sz="17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хроматография,</a:t>
                      </a:r>
                      <a:r>
                        <a:rPr sz="1700" spc="-4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полярография,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нефелометрия,</a:t>
                      </a:r>
                      <a:r>
                        <a:rPr sz="1700" spc="-4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колориметрия,</a:t>
                      </a:r>
                      <a:r>
                        <a:rPr sz="17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спектрофотометрия, титриметрия.</a:t>
                      </a:r>
                      <a:endParaRPr sz="17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6764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9944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1130"/>
                        </a:spcBef>
                      </a:pP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Карбоновые</a:t>
                      </a:r>
                      <a:r>
                        <a:rPr sz="1700" spc="-6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кислоты</a:t>
                      </a:r>
                      <a:r>
                        <a:rPr sz="17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и</a:t>
                      </a:r>
                      <a:r>
                        <a:rPr sz="1700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их</a:t>
                      </a:r>
                      <a:r>
                        <a:rPr sz="1700" spc="-4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производные</a:t>
                      </a:r>
                      <a:r>
                        <a:rPr sz="17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20" dirty="0">
                          <a:latin typeface="Calibri" panose="020F0502020204030204"/>
                          <a:cs typeface="Calibri" panose="020F0502020204030204"/>
                        </a:rPr>
                        <a:t>(ТХУ,</a:t>
                      </a:r>
                      <a:r>
                        <a:rPr sz="1700" spc="-3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нафтеновая</a:t>
                      </a:r>
                      <a:endParaRPr sz="17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91440">
                        <a:lnSpc>
                          <a:spcPct val="100000"/>
                        </a:lnSpc>
                      </a:pP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кислота</a:t>
                      </a:r>
                      <a:r>
                        <a:rPr sz="17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и</a:t>
                      </a:r>
                      <a:r>
                        <a:rPr sz="17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их</a:t>
                      </a:r>
                      <a:r>
                        <a:rPr sz="17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натриевые</a:t>
                      </a:r>
                      <a:r>
                        <a:rPr sz="17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соли)</a:t>
                      </a:r>
                      <a:endParaRPr sz="17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4351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1130"/>
                        </a:spcBef>
                      </a:pP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Колориметрия,</a:t>
                      </a:r>
                      <a:r>
                        <a:rPr sz="1700" spc="-6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спектрофотометрия,</a:t>
                      </a:r>
                      <a:r>
                        <a:rPr sz="1700" spc="-5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фотоколориметрия,</a:t>
                      </a:r>
                      <a:endParaRPr sz="17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92075">
                        <a:lnSpc>
                          <a:spcPct val="100000"/>
                        </a:lnSpc>
                      </a:pP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нефелометрия.</a:t>
                      </a:r>
                      <a:endParaRPr sz="17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14351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994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85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91440">
                        <a:lnSpc>
                          <a:spcPct val="100000"/>
                        </a:lnSpc>
                      </a:pP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Производные</a:t>
                      </a:r>
                      <a:r>
                        <a:rPr sz="1700" spc="-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мочевины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(N-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арил-N,N-диалкилмочевины)</a:t>
                      </a:r>
                      <a:endParaRPr sz="17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54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85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92075">
                        <a:lnSpc>
                          <a:spcPct val="100000"/>
                        </a:lnSpc>
                      </a:pP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Колориметрия,</a:t>
                      </a:r>
                      <a:r>
                        <a:rPr sz="17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хроматография.</a:t>
                      </a:r>
                      <a:endParaRPr sz="17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54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387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235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91440">
                        <a:lnSpc>
                          <a:spcPct val="100000"/>
                        </a:lnSpc>
                      </a:pP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Фосфорорганические</a:t>
                      </a:r>
                      <a:r>
                        <a:rPr sz="1700" spc="-5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пестициды</a:t>
                      </a:r>
                      <a:endParaRPr sz="17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91440" marR="189230">
                        <a:lnSpc>
                          <a:spcPct val="100000"/>
                        </a:lnSpc>
                      </a:pP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(О-О-диметил-2,2-дихлорвинилфосфат,</a:t>
                      </a:r>
                      <a:r>
                        <a:rPr sz="1700" spc="1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метилнитрофос, О-О-диметил-S(N-метилкарбамоилметил)</a:t>
                      </a:r>
                      <a:r>
                        <a:rPr sz="1700" spc="15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дитиофосфата, фосфорамида)</a:t>
                      </a:r>
                      <a:endParaRPr sz="17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17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2400">
                        <a:latin typeface="Times New Roman" panose="02020603050405020304"/>
                        <a:cs typeface="Times New Roman" panose="02020603050405020304"/>
                      </a:endParaRPr>
                    </a:p>
                    <a:p>
                      <a:pPr marL="92075" marR="259715">
                        <a:lnSpc>
                          <a:spcPct val="100000"/>
                        </a:lnSpc>
                      </a:pP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Хроматография:</a:t>
                      </a:r>
                      <a:r>
                        <a:rPr sz="1700" spc="-5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на</a:t>
                      </a:r>
                      <a:r>
                        <a:rPr sz="1700" spc="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бумаге,</a:t>
                      </a:r>
                      <a:r>
                        <a:rPr sz="1700" spc="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тонкослойная</a:t>
                      </a:r>
                      <a:r>
                        <a:rPr sz="1700" spc="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и</a:t>
                      </a:r>
                      <a:r>
                        <a:rPr sz="1700" spc="1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ферментная, колориметрия,</a:t>
                      </a:r>
                      <a:r>
                        <a:rPr sz="1700" spc="-4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dirty="0">
                          <a:latin typeface="Calibri" panose="020F0502020204030204"/>
                          <a:cs typeface="Calibri" panose="020F0502020204030204"/>
                        </a:rPr>
                        <a:t>потенциометрическое</a:t>
                      </a:r>
                      <a:r>
                        <a:rPr sz="17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700" spc="-10" dirty="0">
                          <a:latin typeface="Calibri" panose="020F0502020204030204"/>
                          <a:cs typeface="Calibri" panose="020F0502020204030204"/>
                        </a:rPr>
                        <a:t>титрование.</a:t>
                      </a:r>
                      <a:endParaRPr sz="17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22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78721" y="6560531"/>
            <a:ext cx="2876146" cy="153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pic>
        <p:nvPicPr>
          <p:cNvPr id="3" name="Замещающее содержимое 2"/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351155" y="810895"/>
            <a:ext cx="11483340" cy="575818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205740" y="6314440"/>
            <a:ext cx="1572895" cy="2552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6" name="object 3"/>
          <p:cNvSpPr txBox="1"/>
          <p:nvPr/>
        </p:nvSpPr>
        <p:spPr>
          <a:xfrm>
            <a:off x="2118741" y="161290"/>
            <a:ext cx="712597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b="1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Идеи</a:t>
            </a:r>
            <a:r>
              <a:rPr sz="3600" b="1" spc="-40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3600" b="1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для</a:t>
            </a:r>
            <a:r>
              <a:rPr sz="3600" b="1" spc="-40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3600" b="1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проектов</a:t>
            </a:r>
            <a:r>
              <a:rPr sz="3600" b="1" spc="-35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3600" b="1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и</a:t>
            </a:r>
            <a:r>
              <a:rPr sz="3600" b="1" spc="-20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3600" b="1" spc="-10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исследований</a:t>
            </a:r>
            <a:endParaRPr sz="3600">
              <a:latin typeface="Calibri" panose="020F0502020204030204"/>
              <a:cs typeface="Calibri" panose="020F0502020204030204"/>
            </a:endParaRPr>
          </a:p>
        </p:txBody>
      </p:sp>
      <p:sp>
        <p:nvSpPr>
          <p:cNvPr id="7" name="Номер слайда 2"/>
          <p:cNvSpPr>
            <a:spLocks noGrp="1"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22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23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78721" y="6560531"/>
            <a:ext cx="2876146" cy="153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grpSp>
        <p:nvGrpSpPr>
          <p:cNvPr id="23" name="object 23"/>
          <p:cNvGrpSpPr/>
          <p:nvPr/>
        </p:nvGrpSpPr>
        <p:grpSpPr>
          <a:xfrm>
            <a:off x="5010086" y="954976"/>
            <a:ext cx="6729095" cy="5344160"/>
            <a:chOff x="5010086" y="954976"/>
            <a:chExt cx="6729095" cy="5344160"/>
          </a:xfrm>
        </p:grpSpPr>
        <p:pic>
          <p:nvPicPr>
            <p:cNvPr id="4" name="object 2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149214" y="964437"/>
              <a:ext cx="6153149" cy="3076575"/>
            </a:xfrm>
            <a:prstGeom prst="rect">
              <a:avLst/>
            </a:prstGeom>
          </p:spPr>
        </p:pic>
        <p:sp>
          <p:nvSpPr>
            <p:cNvPr id="25" name="object 25"/>
            <p:cNvSpPr/>
            <p:nvPr/>
          </p:nvSpPr>
          <p:spPr>
            <a:xfrm>
              <a:off x="5014848" y="959738"/>
              <a:ext cx="6518909" cy="3086100"/>
            </a:xfrm>
            <a:custGeom>
              <a:avLst/>
              <a:gdLst/>
              <a:ahLst/>
              <a:cxnLst/>
              <a:rect l="l" t="t" r="r" b="b"/>
              <a:pathLst>
                <a:path w="6518909" h="3086100">
                  <a:moveTo>
                    <a:pt x="0" y="3086100"/>
                  </a:moveTo>
                  <a:lnTo>
                    <a:pt x="6518909" y="3086100"/>
                  </a:lnTo>
                  <a:lnTo>
                    <a:pt x="6518909" y="0"/>
                  </a:lnTo>
                  <a:lnTo>
                    <a:pt x="0" y="0"/>
                  </a:lnTo>
                  <a:lnTo>
                    <a:pt x="0" y="3086100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071615" y="4041012"/>
              <a:ext cx="5657849" cy="2248535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6066916" y="4036250"/>
              <a:ext cx="5667375" cy="2258060"/>
            </a:xfrm>
            <a:custGeom>
              <a:avLst/>
              <a:gdLst/>
              <a:ahLst/>
              <a:cxnLst/>
              <a:rect l="l" t="t" r="r" b="b"/>
              <a:pathLst>
                <a:path w="5667375" h="2258060">
                  <a:moveTo>
                    <a:pt x="0" y="2258060"/>
                  </a:moveTo>
                  <a:lnTo>
                    <a:pt x="5667375" y="2258060"/>
                  </a:lnTo>
                  <a:lnTo>
                    <a:pt x="5667375" y="0"/>
                  </a:lnTo>
                  <a:lnTo>
                    <a:pt x="0" y="0"/>
                  </a:lnTo>
                  <a:lnTo>
                    <a:pt x="0" y="2258060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" name="object 28"/>
          <p:cNvGrpSpPr/>
          <p:nvPr/>
        </p:nvGrpSpPr>
        <p:grpSpPr>
          <a:xfrm>
            <a:off x="273167" y="1417584"/>
            <a:ext cx="1452880" cy="2054860"/>
            <a:chOff x="286502" y="1395994"/>
            <a:chExt cx="1452880" cy="2054860"/>
          </a:xfrm>
        </p:grpSpPr>
        <p:pic>
          <p:nvPicPr>
            <p:cNvPr id="29" name="object 2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86502" y="1395994"/>
              <a:ext cx="1452390" cy="2054335"/>
            </a:xfrm>
            <a:prstGeom prst="rect">
              <a:avLst/>
            </a:prstGeom>
          </p:spPr>
        </p:pic>
        <p:pic>
          <p:nvPicPr>
            <p:cNvPr id="30" name="object 3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13143" y="1418843"/>
              <a:ext cx="1345565" cy="1951101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308381" y="1414144"/>
              <a:ext cx="1355090" cy="1960880"/>
            </a:xfrm>
            <a:custGeom>
              <a:avLst/>
              <a:gdLst/>
              <a:ahLst/>
              <a:cxnLst/>
              <a:rect l="l" t="t" r="r" b="b"/>
              <a:pathLst>
                <a:path w="1355089" h="1960879">
                  <a:moveTo>
                    <a:pt x="0" y="1960626"/>
                  </a:moveTo>
                  <a:lnTo>
                    <a:pt x="1355090" y="1960626"/>
                  </a:lnTo>
                  <a:lnTo>
                    <a:pt x="1355090" y="0"/>
                  </a:lnTo>
                  <a:lnTo>
                    <a:pt x="0" y="0"/>
                  </a:lnTo>
                  <a:lnTo>
                    <a:pt x="0" y="1960626"/>
                  </a:lnTo>
                  <a:close/>
                </a:path>
              </a:pathLst>
            </a:custGeom>
            <a:ln w="9525">
              <a:solidFill>
                <a:srgbClr val="40404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2" name="object 32"/>
          <p:cNvSpPr txBox="1"/>
          <p:nvPr/>
        </p:nvSpPr>
        <p:spPr>
          <a:xfrm>
            <a:off x="1828926" y="2209545"/>
            <a:ext cx="24396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i="1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УМК</a:t>
            </a:r>
            <a:r>
              <a:rPr sz="1200" b="1" i="1" spc="-10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1200" b="1" i="1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Естествознание</a:t>
            </a:r>
            <a:r>
              <a:rPr sz="1200" b="1" i="1" spc="10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1200" b="1" i="1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10-11</a:t>
            </a:r>
            <a:r>
              <a:rPr sz="1200" b="1" i="1" spc="-20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1200" b="1" i="1" spc="-10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классы. </a:t>
            </a:r>
            <a:r>
              <a:rPr sz="1200" b="1" i="1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О.С.</a:t>
            </a:r>
            <a:r>
              <a:rPr sz="1200" b="1" i="1" spc="-25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1200" b="1" i="1" spc="-10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Габриелян</a:t>
            </a:r>
            <a:r>
              <a:rPr sz="1200" b="1" i="1" spc="-20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1200" b="1" i="1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и</a:t>
            </a:r>
            <a:r>
              <a:rPr sz="1200" b="1" i="1" spc="-10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1200" b="1" i="1" spc="-25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др.</a:t>
            </a:r>
            <a:endParaRPr sz="1200">
              <a:latin typeface="Calibri" panose="020F0502020204030204"/>
              <a:cs typeface="Calibri" panose="020F0502020204030204"/>
            </a:endParaRPr>
          </a:p>
        </p:txBody>
      </p:sp>
      <p:grpSp>
        <p:nvGrpSpPr>
          <p:cNvPr id="33" name="object 33"/>
          <p:cNvGrpSpPr/>
          <p:nvPr/>
        </p:nvGrpSpPr>
        <p:grpSpPr>
          <a:xfrm>
            <a:off x="231178" y="4401210"/>
            <a:ext cx="5669915" cy="1942464"/>
            <a:chOff x="231178" y="4401210"/>
            <a:chExt cx="5669915" cy="1942464"/>
          </a:xfrm>
        </p:grpSpPr>
        <p:pic>
          <p:nvPicPr>
            <p:cNvPr id="34" name="object 34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40703" y="4410735"/>
              <a:ext cx="5496634" cy="1734341"/>
            </a:xfrm>
            <a:prstGeom prst="rect">
              <a:avLst/>
            </a:prstGeom>
          </p:spPr>
        </p:pic>
        <p:sp>
          <p:nvSpPr>
            <p:cNvPr id="35" name="object 35"/>
            <p:cNvSpPr/>
            <p:nvPr/>
          </p:nvSpPr>
          <p:spPr>
            <a:xfrm>
              <a:off x="235940" y="4405972"/>
              <a:ext cx="5660390" cy="1932939"/>
            </a:xfrm>
            <a:custGeom>
              <a:avLst/>
              <a:gdLst/>
              <a:ahLst/>
              <a:cxnLst/>
              <a:rect l="l" t="t" r="r" b="b"/>
              <a:pathLst>
                <a:path w="5660390" h="1932939">
                  <a:moveTo>
                    <a:pt x="0" y="1932685"/>
                  </a:moveTo>
                  <a:lnTo>
                    <a:pt x="5660009" y="1932685"/>
                  </a:lnTo>
                  <a:lnTo>
                    <a:pt x="5660009" y="0"/>
                  </a:lnTo>
                  <a:lnTo>
                    <a:pt x="0" y="0"/>
                  </a:lnTo>
                  <a:lnTo>
                    <a:pt x="0" y="1932685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3"/>
          <p:cNvSpPr txBox="1"/>
          <p:nvPr/>
        </p:nvSpPr>
        <p:spPr>
          <a:xfrm>
            <a:off x="2118741" y="161290"/>
            <a:ext cx="712597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b="1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Идеи</a:t>
            </a:r>
            <a:r>
              <a:rPr sz="3600" b="1" spc="-40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3600" b="1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для</a:t>
            </a:r>
            <a:r>
              <a:rPr sz="3600" b="1" spc="-40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3600" b="1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проектов</a:t>
            </a:r>
            <a:r>
              <a:rPr sz="3600" b="1" spc="-35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3600" b="1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и</a:t>
            </a:r>
            <a:r>
              <a:rPr sz="3600" b="1" spc="-20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3600" b="1" spc="-10" dirty="0">
                <a:solidFill>
                  <a:srgbClr val="001F5F"/>
                </a:solidFill>
                <a:latin typeface="Calibri" panose="020F0502020204030204"/>
                <a:cs typeface="Calibri" panose="020F0502020204030204"/>
              </a:rPr>
              <a:t>исследований</a:t>
            </a:r>
            <a:endParaRPr sz="3600">
              <a:latin typeface="Calibri" panose="020F0502020204030204"/>
              <a:cs typeface="Calibri" panose="020F0502020204030204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24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78721" y="6560531"/>
            <a:ext cx="2876146" cy="153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pic>
        <p:nvPicPr>
          <p:cNvPr id="23" name="object 2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19392" y="2986709"/>
            <a:ext cx="6187774" cy="3257630"/>
          </a:xfrm>
          <a:prstGeom prst="rect">
            <a:avLst/>
          </a:prstGeom>
        </p:spPr>
      </p:pic>
      <p:pic>
        <p:nvPicPr>
          <p:cNvPr id="27" name="object 21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9108247" y="950939"/>
            <a:ext cx="2639696" cy="2180663"/>
          </a:xfrm>
          <a:prstGeom prst="rect">
            <a:avLst/>
          </a:prstGeom>
        </p:spPr>
      </p:pic>
      <p:sp>
        <p:nvSpPr>
          <p:cNvPr id="28" name="object 22"/>
          <p:cNvSpPr txBox="1"/>
          <p:nvPr/>
        </p:nvSpPr>
        <p:spPr>
          <a:xfrm>
            <a:off x="1211275" y="1180084"/>
            <a:ext cx="4191635" cy="11233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latin typeface="Calibri" panose="020F0502020204030204"/>
                <a:cs typeface="Calibri" panose="020F0502020204030204"/>
              </a:rPr>
              <a:t>Цифровые</a:t>
            </a:r>
            <a:r>
              <a:rPr sz="2400" spc="-4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лаборатории</a:t>
            </a:r>
            <a:r>
              <a:rPr sz="2400" spc="-4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spc="-10" dirty="0">
                <a:latin typeface="Calibri" panose="020F0502020204030204"/>
                <a:cs typeface="Calibri" panose="020F0502020204030204"/>
              </a:rPr>
              <a:t>можно </a:t>
            </a:r>
            <a:r>
              <a:rPr sz="2400" dirty="0">
                <a:latin typeface="Calibri" panose="020F0502020204030204"/>
                <a:cs typeface="Calibri" panose="020F0502020204030204"/>
              </a:rPr>
              <a:t>использовать</a:t>
            </a:r>
            <a:r>
              <a:rPr sz="2400" spc="-4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во</a:t>
            </a:r>
            <a:r>
              <a:rPr sz="2400" spc="-55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dirty="0">
                <a:latin typeface="Calibri" panose="020F0502020204030204"/>
                <a:cs typeface="Calibri" panose="020F0502020204030204"/>
              </a:rPr>
              <a:t>время</a:t>
            </a:r>
            <a:r>
              <a:rPr sz="2400" spc="-40" dirty="0">
                <a:latin typeface="Calibri" panose="020F0502020204030204"/>
                <a:cs typeface="Calibri" panose="020F0502020204030204"/>
              </a:rPr>
              <a:t> </a:t>
            </a:r>
            <a:r>
              <a:rPr sz="2400" spc="-10" dirty="0">
                <a:latin typeface="Calibri" panose="020F0502020204030204"/>
                <a:cs typeface="Calibri" panose="020F0502020204030204"/>
              </a:rPr>
              <a:t>полевых практикумов</a:t>
            </a:r>
            <a:endParaRPr sz="2400">
              <a:latin typeface="Calibri" panose="020F0502020204030204"/>
              <a:cs typeface="Calibri" panose="020F0502020204030204"/>
            </a:endParaRPr>
          </a:p>
        </p:txBody>
      </p:sp>
      <p:sp>
        <p:nvSpPr>
          <p:cNvPr id="29" name="object 24"/>
          <p:cNvSpPr txBox="1">
            <a:spLocks noGrp="1"/>
          </p:cNvSpPr>
          <p:nvPr/>
        </p:nvSpPr>
        <p:spPr>
          <a:xfrm>
            <a:off x="1926970" y="163576"/>
            <a:ext cx="801624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800" b="1" i="0">
                <a:solidFill>
                  <a:srgbClr val="001F5F"/>
                </a:solidFill>
                <a:latin typeface="Calibri" panose="020F0502020204030204"/>
                <a:ea typeface="+mj-ea"/>
                <a:cs typeface="Calibri" panose="020F0502020204030204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dirty="0">
                <a:solidFill>
                  <a:srgbClr val="294690"/>
                </a:solidFill>
              </a:rPr>
              <a:t>Использование</a:t>
            </a:r>
            <a:r>
              <a:rPr sz="3200" spc="-75" dirty="0">
                <a:solidFill>
                  <a:srgbClr val="294690"/>
                </a:solidFill>
              </a:rPr>
              <a:t> </a:t>
            </a:r>
            <a:r>
              <a:rPr sz="3200" dirty="0">
                <a:solidFill>
                  <a:srgbClr val="294690"/>
                </a:solidFill>
              </a:rPr>
              <a:t>современного</a:t>
            </a:r>
            <a:r>
              <a:rPr sz="3200" spc="-80" dirty="0">
                <a:solidFill>
                  <a:srgbClr val="294690"/>
                </a:solidFill>
              </a:rPr>
              <a:t> </a:t>
            </a:r>
            <a:r>
              <a:rPr sz="3200" spc="-10" dirty="0">
                <a:solidFill>
                  <a:srgbClr val="294690"/>
                </a:solidFill>
              </a:rPr>
              <a:t>оборудования</a:t>
            </a:r>
            <a:endParaRPr sz="3200"/>
          </a:p>
        </p:txBody>
      </p:sp>
      <p:sp>
        <p:nvSpPr>
          <p:cNvPr id="30" name="object 26"/>
          <p:cNvSpPr txBox="1"/>
          <p:nvPr/>
        </p:nvSpPr>
        <p:spPr>
          <a:xfrm>
            <a:off x="8001254" y="3200272"/>
            <a:ext cx="3682365" cy="3513454"/>
          </a:xfrm>
          <a:prstGeom prst="rect">
            <a:avLst/>
          </a:prstGeom>
        </p:spPr>
        <p:txBody>
          <a:bodyPr vert="horz" wrap="square" lIns="0" tIns="946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745"/>
              </a:spcBef>
            </a:pPr>
            <a:r>
              <a:rPr sz="1800" b="1" spc="-10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Химия</a:t>
            </a:r>
            <a:endParaRPr sz="1800">
              <a:latin typeface="Calibri" panose="020F0502020204030204"/>
              <a:cs typeface="Calibri" panose="020F0502020204030204"/>
            </a:endParaRPr>
          </a:p>
          <a:p>
            <a:pPr marL="12700">
              <a:lnSpc>
                <a:spcPct val="100000"/>
              </a:lnSpc>
              <a:spcBef>
                <a:spcPts val="650"/>
              </a:spcBef>
            </a:pPr>
            <a:r>
              <a:rPr sz="1800" b="1" spc="-10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Экология</a:t>
            </a:r>
            <a:endParaRPr sz="1800">
              <a:latin typeface="Calibri" panose="020F0502020204030204"/>
              <a:cs typeface="Calibri" panose="020F0502020204030204"/>
            </a:endParaRPr>
          </a:p>
          <a:p>
            <a:pPr marL="12700">
              <a:lnSpc>
                <a:spcPct val="100000"/>
              </a:lnSpc>
              <a:spcBef>
                <a:spcPts val="650"/>
              </a:spcBef>
            </a:pPr>
            <a:r>
              <a:rPr sz="1800" b="1" spc="-10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Экологический</a:t>
            </a:r>
            <a:r>
              <a:rPr sz="1800" b="1" spc="15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1800" b="1" spc="-10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мониторинг</a:t>
            </a:r>
            <a:endParaRPr sz="1800">
              <a:latin typeface="Calibri" panose="020F0502020204030204"/>
              <a:cs typeface="Calibri" panose="020F0502020204030204"/>
            </a:endParaRPr>
          </a:p>
          <a:p>
            <a:pPr marL="12700" marR="2132965">
              <a:lnSpc>
                <a:spcPct val="130000"/>
              </a:lnSpc>
            </a:pPr>
            <a:r>
              <a:rPr sz="1800" b="1" spc="-10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Естествознание Биология</a:t>
            </a:r>
            <a:endParaRPr sz="1800">
              <a:latin typeface="Calibri" panose="020F0502020204030204"/>
              <a:cs typeface="Calibri" panose="020F0502020204030204"/>
            </a:endParaRPr>
          </a:p>
          <a:p>
            <a:pPr marL="12700" marR="2433955">
              <a:lnSpc>
                <a:spcPct val="130000"/>
              </a:lnSpc>
            </a:pPr>
            <a:r>
              <a:rPr sz="1800" b="1" spc="-10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География Физика Математика </a:t>
            </a:r>
            <a:r>
              <a:rPr sz="1800" b="1" spc="-25" dirty="0">
                <a:solidFill>
                  <a:srgbClr val="2E5496"/>
                </a:solidFill>
                <a:latin typeface="Calibri" panose="020F0502020204030204"/>
                <a:cs typeface="Calibri" panose="020F0502020204030204"/>
              </a:rPr>
              <a:t>ОБЖ</a:t>
            </a:r>
            <a:endParaRPr sz="1800">
              <a:latin typeface="Calibri" panose="020F0502020204030204"/>
              <a:cs typeface="Calibri" panose="020F0502020204030204"/>
            </a:endParaRPr>
          </a:p>
          <a:p>
            <a:pPr marL="2577465">
              <a:lnSpc>
                <a:spcPts val="865"/>
              </a:lnSpc>
            </a:pPr>
            <a:r>
              <a:rPr sz="1100" dirty="0">
                <a:latin typeface="Calibri" panose="020F0502020204030204"/>
                <a:cs typeface="Calibri" panose="020F0502020204030204"/>
              </a:rPr>
              <a:t>+7</a:t>
            </a:r>
            <a:r>
              <a:rPr sz="1100" spc="15" dirty="0">
                <a:latin typeface="Calibri" panose="020F0502020204030204"/>
                <a:cs typeface="Calibri" panose="020F0502020204030204"/>
              </a:rPr>
              <a:t> </a:t>
            </a:r>
            <a:r>
              <a:rPr sz="1100" dirty="0">
                <a:latin typeface="Calibri" panose="020F0502020204030204"/>
                <a:cs typeface="Calibri" panose="020F0502020204030204"/>
              </a:rPr>
              <a:t>(495)</a:t>
            </a:r>
            <a:r>
              <a:rPr sz="1100" spc="5" dirty="0">
                <a:latin typeface="Calibri" panose="020F0502020204030204"/>
                <a:cs typeface="Calibri" panose="020F0502020204030204"/>
              </a:rPr>
              <a:t> </a:t>
            </a:r>
            <a:r>
              <a:rPr sz="1100" dirty="0">
                <a:latin typeface="Calibri" panose="020F0502020204030204"/>
                <a:cs typeface="Calibri" panose="020F0502020204030204"/>
              </a:rPr>
              <a:t>789-</a:t>
            </a:r>
            <a:r>
              <a:rPr sz="1100" spc="-10" dirty="0">
                <a:latin typeface="Calibri" panose="020F0502020204030204"/>
                <a:cs typeface="Calibri" panose="020F0502020204030204"/>
              </a:rPr>
              <a:t>30-</a:t>
            </a:r>
            <a:r>
              <a:rPr sz="1100" spc="-25" dirty="0">
                <a:latin typeface="Calibri" panose="020F0502020204030204"/>
                <a:cs typeface="Calibri" panose="020F0502020204030204"/>
              </a:rPr>
              <a:t>40</a:t>
            </a:r>
            <a:endParaRPr sz="1100">
              <a:latin typeface="Calibri" panose="020F0502020204030204"/>
              <a:cs typeface="Calibri" panose="020F0502020204030204"/>
            </a:endParaRPr>
          </a:p>
          <a:p>
            <a:pPr marL="2609850">
              <a:lnSpc>
                <a:spcPct val="100000"/>
              </a:lnSpc>
            </a:pPr>
            <a:r>
              <a:rPr sz="1100" u="sng" spc="-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 panose="020F0502020204030204"/>
                <a:cs typeface="Calibri" panose="020F0502020204030204"/>
                <a:hlinkClick r:id="rId6"/>
              </a:rPr>
              <a:t>prosv@prosv.ru</a:t>
            </a:r>
            <a:endParaRPr sz="1100">
              <a:latin typeface="Calibri" panose="020F0502020204030204"/>
              <a:cs typeface="Calibri" panose="020F0502020204030204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25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78721" y="6560531"/>
            <a:ext cx="2876146" cy="153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109" name="object 8"/>
          <p:cNvSpPr/>
          <p:nvPr/>
        </p:nvSpPr>
        <p:spPr>
          <a:xfrm>
            <a:off x="3123590" y="2261360"/>
            <a:ext cx="1107820" cy="160517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9525">
            <a:solidFill>
              <a:schemeClr val="bg2">
                <a:lumMod val="90000"/>
              </a:schemeClr>
            </a:solidFill>
          </a:ln>
        </p:spPr>
        <p:txBody>
          <a:bodyPr wrap="square" lIns="0" tIns="0" rIns="0" bIns="0" rtlCol="0"/>
          <a:lstStyle/>
          <a:p>
            <a:endParaRPr sz="2400" dirty="0"/>
          </a:p>
        </p:txBody>
      </p:sp>
      <p:sp>
        <p:nvSpPr>
          <p:cNvPr id="111" name="TextBox 110"/>
          <p:cNvSpPr txBox="1"/>
          <p:nvPr/>
        </p:nvSpPr>
        <p:spPr>
          <a:xfrm>
            <a:off x="1896889" y="160997"/>
            <a:ext cx="9579092" cy="561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омплексные решения ГК «Просвещение» для формирования у обучающихся опыта самостоятельной деятельности: проектной, учебно-исследовательской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7178" y="2256819"/>
            <a:ext cx="1209426" cy="161452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3" name="Нашивка 161"/>
          <p:cNvSpPr/>
          <p:nvPr/>
        </p:nvSpPr>
        <p:spPr>
          <a:xfrm>
            <a:off x="1425685" y="2819491"/>
            <a:ext cx="194853" cy="327170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9" name="Нашивка 161"/>
          <p:cNvSpPr/>
          <p:nvPr/>
        </p:nvSpPr>
        <p:spPr>
          <a:xfrm>
            <a:off x="2909889" y="2825872"/>
            <a:ext cx="194853" cy="327170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34492" y="1440544"/>
            <a:ext cx="3861349" cy="386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20000"/>
              </a:lnSpc>
              <a:defRPr/>
            </a:pPr>
            <a:r>
              <a:rPr lang="ru-RU" sz="16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Учебно-методическое обеспечение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853449" y="1385861"/>
            <a:ext cx="2837394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20000"/>
              </a:lnSpc>
              <a:defRPr/>
            </a:pPr>
            <a:r>
              <a:rPr lang="ru-RU" sz="16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Цифровые</a:t>
            </a:r>
            <a:r>
              <a:rPr lang="ru-RU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 </a:t>
            </a:r>
            <a:r>
              <a:rPr lang="ru-RU" sz="16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сервисы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8206105" y="1385570"/>
            <a:ext cx="3754120" cy="1106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16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бразовательная инфраструктура с применением инновационных  решений мирового уровня</a:t>
            </a:r>
          </a:p>
          <a:p>
            <a:pPr lvl="0" algn="ctr">
              <a:defRPr/>
            </a:pPr>
            <a:r>
              <a:rPr lang="ru-RU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 </a:t>
            </a:r>
          </a:p>
        </p:txBody>
      </p:sp>
      <p:pic>
        <p:nvPicPr>
          <p:cNvPr id="80" name="Рисунок 7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47" y="2265160"/>
            <a:ext cx="1187569" cy="1599196"/>
          </a:xfrm>
          <a:prstGeom prst="rect">
            <a:avLst/>
          </a:prstGeom>
          <a:ln w="12700">
            <a:solidFill>
              <a:schemeClr val="bg1">
                <a:lumMod val="85000"/>
              </a:schemeClr>
            </a:solidFill>
          </a:ln>
          <a:effectLst/>
        </p:spPr>
      </p:pic>
      <p:sp>
        <p:nvSpPr>
          <p:cNvPr id="82" name="TextBox 81"/>
          <p:cNvSpPr txBox="1"/>
          <p:nvPr/>
        </p:nvSpPr>
        <p:spPr>
          <a:xfrm>
            <a:off x="177247" y="3980571"/>
            <a:ext cx="4019814" cy="181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algn="l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2D2B8D"/>
                </a:solidFill>
                <a:uFillTx/>
                <a:ea typeface="Open Sans Condensed" pitchFamily="34" charset="0"/>
                <a:cs typeface="Open Sans Condensed" pitchFamily="34" charset="0"/>
              </a:rPr>
              <a:t>Модульный подход к представлению материала</a:t>
            </a:r>
          </a:p>
          <a:p>
            <a:pPr marL="285750" lvl="0" indent="-285750" algn="l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2D2B8D"/>
                </a:solidFill>
                <a:uFillTx/>
                <a:ea typeface="Open Sans Condensed" pitchFamily="34" charset="0"/>
                <a:cs typeface="Open Sans Condensed" pitchFamily="34" charset="0"/>
              </a:rPr>
              <a:t>Все этапы исследовательской деятельности и проектной работы: от выбора темы и обоснования её актуальности до представления выполненной работы в публичном пространстве. </a:t>
            </a:r>
          </a:p>
        </p:txBody>
      </p:sp>
      <p:pic>
        <p:nvPicPr>
          <p:cNvPr id="83" name="Рисунок 82"/>
          <p:cNvPicPr>
            <a:picLocks noChangeAspect="1"/>
          </p:cNvPicPr>
          <p:nvPr/>
        </p:nvPicPr>
        <p:blipFill rotWithShape="1">
          <a:blip r:embed="rId7"/>
          <a:srcRect r="8602" b="8602"/>
          <a:stretch>
            <a:fillRect/>
          </a:stretch>
        </p:blipFill>
        <p:spPr>
          <a:xfrm>
            <a:off x="4551135" y="2060442"/>
            <a:ext cx="3456362" cy="1913161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4416849" y="3916603"/>
            <a:ext cx="372985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ошаговый алгоритм ведения проектной деятельности для учителей и учеников с методическими рекомендациями по каждому шагу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Банк тем проектов по различным видам, направлениям, предметам, класса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ритерии оценивания проектов для учителей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8305295" y="3963768"/>
            <a:ext cx="32372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Инженерный клас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IT-</a:t>
            </a: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олигон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Робототехнический клас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Медицинский клас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Агротехнологический клас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етеринарный клас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Академический клас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Лаборатория генетических исследова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онвергентная лаборатор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Экологическая лаборатория</a:t>
            </a:r>
          </a:p>
        </p:txBody>
      </p:sp>
      <p:pic>
        <p:nvPicPr>
          <p:cNvPr id="86" name="Рисунок 8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2340" y="2326009"/>
            <a:ext cx="2627896" cy="1668707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26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873318" y="144606"/>
            <a:ext cx="10029387" cy="4585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800" b="1" dirty="0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Что может пригодиться при выполнении работы? 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6179671" y="1475831"/>
            <a:ext cx="5653248" cy="36734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buFont typeface="Wingdings" panose="05000000000000000000" pitchFamily="2" charset="2"/>
              <a:buChar char="ü"/>
              <a:tabLst>
                <a:tab pos="457200" algn="l"/>
              </a:tabLst>
              <a:defRPr/>
            </a:pPr>
            <a:r>
              <a:rPr lang="ru-RU" dirty="0">
                <a:solidFill>
                  <a:srgbClr val="197EC6"/>
                </a:solidFill>
                <a:ea typeface="Arial" panose="020B0604020202020204" pitchFamily="34" charset="0"/>
                <a:cs typeface="Arial" panose="020B0604020202020204" pitchFamily="34" charset="0"/>
              </a:rPr>
              <a:t>Позволяет развивать навыки проектной и исследовательской деятельности</a:t>
            </a:r>
          </a:p>
          <a:p>
            <a:pPr marL="285750" indent="-28575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buFont typeface="Wingdings" panose="05000000000000000000" pitchFamily="2" charset="2"/>
              <a:buChar char="ü"/>
              <a:tabLst>
                <a:tab pos="457200" algn="l"/>
              </a:tabLst>
              <a:defRPr/>
            </a:pPr>
            <a:r>
              <a:rPr lang="ru-RU" dirty="0">
                <a:solidFill>
                  <a:srgbClr val="197EC6"/>
                </a:solidFill>
                <a:ea typeface="Arial" panose="020B0604020202020204" pitchFamily="34" charset="0"/>
                <a:cs typeface="Arial" panose="020B0604020202020204" pitchFamily="34" charset="0"/>
              </a:rPr>
              <a:t>Способствует формированию креативного мышления</a:t>
            </a:r>
          </a:p>
          <a:p>
            <a:pPr marL="285750" lvl="0" indent="-28575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buFont typeface="Wingdings" panose="05000000000000000000" pitchFamily="2" charset="2"/>
              <a:buChar char="ü"/>
              <a:tabLst>
                <a:tab pos="457200" algn="l"/>
              </a:tabLst>
              <a:defRPr/>
            </a:pPr>
            <a:r>
              <a:rPr lang="ru-RU" dirty="0">
                <a:ea typeface="Arial" panose="020B0604020202020204" pitchFamily="34" charset="0"/>
                <a:cs typeface="Arial" panose="020B0604020202020204" pitchFamily="34" charset="0"/>
              </a:rPr>
              <a:t>Обеспечивает сопровождение образовательной деятельности учащихся в разных формах: учебное занятие, практическая работа, учебный проект, учебное исследование, экскурсия</a:t>
            </a:r>
          </a:p>
          <a:p>
            <a:pPr marL="285750" indent="-28575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buFont typeface="Wingdings" panose="05000000000000000000" pitchFamily="2" charset="2"/>
              <a:buChar char="ü"/>
              <a:tabLst>
                <a:tab pos="457200" algn="l"/>
              </a:tabLst>
              <a:defRPr/>
            </a:pPr>
            <a:r>
              <a:rPr lang="ru-RU" dirty="0">
                <a:ea typeface="Arial" panose="020B0604020202020204" pitchFamily="34" charset="0"/>
                <a:cs typeface="Arial" panose="020B0604020202020204" pitchFamily="34" charset="0"/>
              </a:rPr>
              <a:t>Основана на практико-ориентированном подходе</a:t>
            </a:r>
          </a:p>
          <a:p>
            <a:pPr marL="285750" indent="-28575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buFont typeface="Wingdings" panose="05000000000000000000" pitchFamily="2" charset="2"/>
              <a:buChar char="ü"/>
              <a:tabLst>
                <a:tab pos="457200" algn="l"/>
              </a:tabLst>
              <a:defRPr/>
            </a:pPr>
            <a:r>
              <a:rPr lang="ru-RU" dirty="0">
                <a:ea typeface="Arial" panose="020B0604020202020204" pitchFamily="34" charset="0"/>
                <a:cs typeface="Arial" panose="020B0604020202020204" pitchFamily="34" charset="0"/>
              </a:rPr>
              <a:t>Расширяет кругозор учащихся, способствует углублению знаний по изучаемым предметам</a:t>
            </a:r>
          </a:p>
          <a:p>
            <a:pPr marL="285750" indent="-28575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buFont typeface="Wingdings" panose="05000000000000000000" pitchFamily="2" charset="2"/>
              <a:buChar char="ü"/>
              <a:tabLst>
                <a:tab pos="457200" algn="l"/>
              </a:tabLst>
              <a:defRPr/>
            </a:pPr>
            <a:r>
              <a:rPr lang="ru-RU" dirty="0">
                <a:ea typeface="Arial" panose="020B0604020202020204" pitchFamily="34" charset="0"/>
                <a:cs typeface="Arial" panose="020B0604020202020204" pitchFamily="34" charset="0"/>
              </a:rPr>
              <a:t>Сборник примерных рабочих программ в свободном доступе на </a:t>
            </a:r>
            <a:r>
              <a:rPr lang="ru-RU" dirty="0">
                <a:ea typeface="Arial" panose="020B0604020202020204" pitchFamily="34" charset="0"/>
                <a:cs typeface="Arial" panose="020B0604020202020204" pitchFamily="34" charset="0"/>
                <a:hlinkClick r:id="rId4"/>
              </a:rPr>
              <a:t>сайте</a:t>
            </a:r>
            <a:endParaRPr lang="ru-RU" dirty="0"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Picture 12" descr="Изображение Исследовательские и проектные работы по химии. 5-9 классы.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1466" y="4069273"/>
            <a:ext cx="1624087" cy="2160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6" descr="http://qrcoder.ru/code/?https%3A%2F%2Fshop.prosv.ru%2Fkatalog%23%2Forderby%3D5%26sFilters%3D4%212304%3B13%2117879%3B&amp;8&amp;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7509" y="5490586"/>
            <a:ext cx="958493" cy="958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Прямоугольник 33"/>
          <p:cNvSpPr/>
          <p:nvPr/>
        </p:nvSpPr>
        <p:spPr>
          <a:xfrm>
            <a:off x="7702401" y="5806691"/>
            <a:ext cx="6096000" cy="32637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tabLst>
                <a:tab pos="457200" algn="l"/>
              </a:tabLst>
              <a:defRPr/>
            </a:pPr>
            <a:r>
              <a:rPr lang="ru-RU" sz="1600" dirty="0">
                <a:ea typeface="Arial" panose="020B0604020202020204" pitchFamily="34" charset="0"/>
                <a:cs typeface="Arial" panose="020B0604020202020204" pitchFamily="34" charset="0"/>
                <a:hlinkClick r:id="rId7"/>
              </a:rPr>
              <a:t>Купить</a:t>
            </a:r>
            <a:r>
              <a:rPr lang="ru-RU" sz="1600" dirty="0">
                <a:ea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pic>
        <p:nvPicPr>
          <p:cNvPr id="35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8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270466" y="5906943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9" descr="Изображение Проектная мастерская. 5-9 классы.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548" y="4065210"/>
            <a:ext cx="1639949" cy="216812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8" name="Группа 37"/>
          <p:cNvGrpSpPr/>
          <p:nvPr/>
        </p:nvGrpSpPr>
        <p:grpSpPr>
          <a:xfrm>
            <a:off x="767074" y="1527182"/>
            <a:ext cx="4911262" cy="2224704"/>
            <a:chOff x="2296267" y="1730264"/>
            <a:chExt cx="4203171" cy="1789281"/>
          </a:xfrm>
        </p:grpSpPr>
        <p:pic>
          <p:nvPicPr>
            <p:cNvPr id="39" name="Рисунок 3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96267" y="1741992"/>
              <a:ext cx="1356847" cy="1777553"/>
            </a:xfrm>
            <a:prstGeom prst="rect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  <a:effectLst/>
          </p:spPr>
        </p:pic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8656" y="1730264"/>
              <a:ext cx="1356847" cy="1777552"/>
            </a:xfrm>
            <a:prstGeom prst="rect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  <a:effectLst/>
          </p:spPr>
        </p:pic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42591" y="1730264"/>
              <a:ext cx="1356847" cy="1777554"/>
            </a:xfrm>
            <a:prstGeom prst="rect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  <a:effectLst/>
          </p:spPr>
        </p:pic>
      </p:grpSp>
      <p:pic>
        <p:nvPicPr>
          <p:cNvPr id="42" name="Picture 4" descr="Изображение Исследовательские и проектные работы по биологии. 5-9 классы.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2649" y="4069273"/>
            <a:ext cx="1629818" cy="2160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/>
          <p:cNvSpPr txBox="1"/>
          <p:nvPr/>
        </p:nvSpPr>
        <p:spPr>
          <a:xfrm>
            <a:off x="767074" y="881488"/>
            <a:ext cx="9577064" cy="318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700"/>
              </a:lnSpc>
            </a:pPr>
            <a:r>
              <a:rPr lang="ru-RU" sz="2000" b="1" spc="-40" dirty="0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Серия «Внеурочная деятельность» для 5 - 9 классов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37987" y="6539932"/>
            <a:ext cx="3006571" cy="153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27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873318" y="144606"/>
            <a:ext cx="10029387" cy="8248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800" b="1" dirty="0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Что может пригодиться при выполнении работы? </a:t>
            </a:r>
          </a:p>
          <a:p>
            <a:pPr lvl="0">
              <a:lnSpc>
                <a:spcPct val="85000"/>
              </a:lnSpc>
              <a:defRPr/>
            </a:pPr>
            <a:r>
              <a:rPr lang="ru-RU" sz="2800" b="1" dirty="0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004865" y="1733375"/>
            <a:ext cx="6184083" cy="34214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914400">
              <a:lnSpc>
                <a:spcPct val="110000"/>
              </a:lnSpc>
              <a:spcBef>
                <a:spcPts val="1065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2000" dirty="0">
                <a:ea typeface="Arial" panose="020B0604020202020204" pitchFamily="34" charset="0"/>
                <a:cs typeface="Arial" panose="020B0604020202020204" pitchFamily="34" charset="0"/>
              </a:rPr>
              <a:t>Обеспечат осознанное вовлечение обучающихся в изучение профильных учебных предметов</a:t>
            </a:r>
          </a:p>
          <a:p>
            <a:pPr marL="285750" indent="-285750" defTabSz="914400">
              <a:lnSpc>
                <a:spcPct val="110000"/>
              </a:lnSpc>
              <a:spcBef>
                <a:spcPts val="1065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2000" dirty="0">
                <a:ea typeface="Arial" panose="020B0604020202020204" pitchFamily="34" charset="0"/>
                <a:cs typeface="Arial" panose="020B0604020202020204" pitchFamily="34" charset="0"/>
              </a:rPr>
              <a:t>Познакомят старшеклассников со спецификой видов деятельности, которые будут для них ведущими с точки зрения профессиональной перспективы</a:t>
            </a:r>
          </a:p>
          <a:p>
            <a:pPr marL="285750" indent="-285750" defTabSz="914400">
              <a:lnSpc>
                <a:spcPct val="110000"/>
              </a:lnSpc>
              <a:spcBef>
                <a:spcPts val="1065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2000" dirty="0">
                <a:ea typeface="Arial" panose="020B0604020202020204" pitchFamily="34" charset="0"/>
                <a:cs typeface="Arial" panose="020B0604020202020204" pitchFamily="34" charset="0"/>
              </a:rPr>
              <a:t>Помогут в построении индивидуальной образовательной траектории, сориентировать учащихся в вопросах выбора будущей професси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7680176" y="5668748"/>
            <a:ext cx="6096000" cy="32637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tabLst>
                <a:tab pos="457200" algn="l"/>
              </a:tabLst>
              <a:defRPr/>
            </a:pPr>
            <a:r>
              <a:rPr lang="ru-RU" sz="1600" dirty="0">
                <a:ea typeface="Arial" panose="020B0604020202020204" pitchFamily="34" charset="0"/>
                <a:cs typeface="Arial" panose="020B0604020202020204" pitchFamily="34" charset="0"/>
                <a:hlinkClick r:id="rId4"/>
              </a:rPr>
              <a:t>Купить</a:t>
            </a:r>
            <a:r>
              <a:rPr lang="ru-RU" sz="1600" dirty="0">
                <a:ea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pic>
        <p:nvPicPr>
          <p:cNvPr id="20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270466" y="5788685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9" descr="http://qrcoder.ru/code/?https%3A%2F%2Fshop.prosv.ru%2Fkatalog%23%2Forderby%3D5%26sFilters%3D13%2117940%3B&amp;8&amp;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2314" y="5302685"/>
            <a:ext cx="972000" cy="9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5" descr="Изображение Индивидуальный проект.10-11 классы.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436" y="1925309"/>
            <a:ext cx="2163367" cy="287403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4558" y="3036579"/>
            <a:ext cx="2112821" cy="295854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5" name="Прямоугольник 24"/>
          <p:cNvSpPr/>
          <p:nvPr/>
        </p:nvSpPr>
        <p:spPr>
          <a:xfrm>
            <a:off x="450436" y="1081790"/>
            <a:ext cx="8378262" cy="410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700"/>
              </a:lnSpc>
            </a:pPr>
            <a:r>
              <a:rPr lang="ru-RU" sz="2000" b="1" spc="-40" dirty="0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Серия «ПРОФИЛЬНАЯ ШКОЛА» для 10-11 классов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37987" y="6539932"/>
            <a:ext cx="3006571" cy="153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124" y="2444164"/>
            <a:ext cx="1470181" cy="1970251"/>
          </a:xfrm>
          <a:prstGeom prst="rect">
            <a:avLst/>
          </a:prstGeom>
          <a:ln>
            <a:noFill/>
          </a:ln>
          <a:effectLst>
            <a:outerShdw blurRad="241300" dist="38100" dir="2700000" algn="ctr" rotWithShape="0">
              <a:srgbClr val="000000">
                <a:alpha val="23000"/>
              </a:srgbClr>
            </a:outerShdw>
          </a:effectLst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0278" y="3257465"/>
            <a:ext cx="1470181" cy="1970251"/>
          </a:xfrm>
          <a:prstGeom prst="rect">
            <a:avLst/>
          </a:prstGeom>
          <a:ln w="6350">
            <a:noFill/>
          </a:ln>
          <a:effectLst>
            <a:outerShdw blurRad="241300" dist="38100" dir="2700000" algn="ctr" rotWithShape="0">
              <a:srgbClr val="000000">
                <a:alpha val="23000"/>
              </a:srgbClr>
            </a:outerShdw>
          </a:effectLst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6432" y="2444164"/>
            <a:ext cx="1470181" cy="1970251"/>
          </a:xfrm>
          <a:prstGeom prst="rect">
            <a:avLst/>
          </a:prstGeom>
          <a:ln w="6350">
            <a:noFill/>
          </a:ln>
          <a:effectLst>
            <a:outerShdw blurRad="241300" dist="38100" dir="2700000" algn="ctr" rotWithShape="0">
              <a:srgbClr val="000000">
                <a:alpha val="23000"/>
              </a:srgbClr>
            </a:outerShdw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2586" y="3257465"/>
            <a:ext cx="1470181" cy="1984075"/>
          </a:xfrm>
          <a:prstGeom prst="rect">
            <a:avLst/>
          </a:prstGeom>
          <a:ln w="6350">
            <a:noFill/>
          </a:ln>
          <a:effectLst>
            <a:outerShdw blurRad="241300" dist="38100" dir="2700000" algn="ctr" rotWithShape="0">
              <a:srgbClr val="000000">
                <a:alpha val="23000"/>
              </a:srgbClr>
            </a:outerShdw>
          </a:effec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40" y="2444164"/>
            <a:ext cx="1470181" cy="1970251"/>
          </a:xfrm>
          <a:prstGeom prst="rect">
            <a:avLst/>
          </a:prstGeom>
          <a:ln w="6350">
            <a:noFill/>
          </a:ln>
          <a:effectLst>
            <a:outerShdw blurRad="241300" dist="38100" dir="2700000" algn="ctr" rotWithShape="0">
              <a:srgbClr val="000000">
                <a:alpha val="23000"/>
              </a:srgbClr>
            </a:outerShdw>
          </a:effectLst>
        </p:spPr>
      </p:pic>
      <p:sp>
        <p:nvSpPr>
          <p:cNvPr id="16" name="Прямоугольник 15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1" name="TextBox 20"/>
          <p:cNvSpPr txBox="1"/>
          <p:nvPr/>
        </p:nvSpPr>
        <p:spPr>
          <a:xfrm>
            <a:off x="1895321" y="1274913"/>
            <a:ext cx="10293628" cy="33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ru-RU" b="1" spc="-40" dirty="0">
                <a:solidFill>
                  <a:srgbClr val="002060"/>
                </a:solidFill>
                <a:ea typeface="Arial" panose="020B0604020202020204" pitchFamily="34" charset="0"/>
                <a:cs typeface="Arial" panose="020B0604020202020204" pitchFamily="34" charset="0"/>
              </a:rPr>
              <a:t>Формируем актуальное экологическое самосознание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1A4C3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411" y="1162636"/>
            <a:ext cx="1351082" cy="530747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28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873319" y="352674"/>
            <a:ext cx="10029387" cy="370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5" b="1" dirty="0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Единственный курс экологического просвещения для 1 – 11 классов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898294" y="1967551"/>
            <a:ext cx="6220513" cy="45758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4480" lvl="0" indent="-284480">
              <a:lnSpc>
                <a:spcPct val="80000"/>
              </a:lnSpc>
              <a:spcBef>
                <a:spcPts val="8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700" b="1" dirty="0">
                <a:solidFill>
                  <a:srgbClr val="3B3838"/>
                </a:solidFill>
              </a:rPr>
              <a:t>«Азбука экологии» </a:t>
            </a:r>
            <a:r>
              <a:rPr lang="ru-RU" sz="1700" dirty="0">
                <a:solidFill>
                  <a:srgbClr val="3B3838"/>
                </a:solidFill>
              </a:rPr>
              <a:t>знакомит с основными экологическими понятиями, воспитывает чувство ответственности за свои действия в природе</a:t>
            </a:r>
          </a:p>
          <a:p>
            <a:pPr marL="284480" lvl="0" indent="-284480">
              <a:lnSpc>
                <a:spcPct val="80000"/>
              </a:lnSpc>
              <a:spcBef>
                <a:spcPts val="8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700" b="1" dirty="0">
                <a:solidFill>
                  <a:srgbClr val="3B3838"/>
                </a:solidFill>
              </a:rPr>
              <a:t>«Экологическая культура» </a:t>
            </a:r>
            <a:r>
              <a:rPr lang="ru-RU" sz="1700" dirty="0">
                <a:solidFill>
                  <a:srgbClr val="3B3838"/>
                </a:solidFill>
              </a:rPr>
              <a:t>закладывает представления об экологически целесообразном поведении</a:t>
            </a:r>
          </a:p>
          <a:p>
            <a:pPr marL="284480" lvl="0" indent="-284480">
              <a:lnSpc>
                <a:spcPct val="80000"/>
              </a:lnSpc>
              <a:spcBef>
                <a:spcPts val="8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700" b="1" dirty="0">
                <a:solidFill>
                  <a:srgbClr val="3B3838"/>
                </a:solidFill>
              </a:rPr>
              <a:t>«Экологическая грамотность» </a:t>
            </a:r>
            <a:r>
              <a:rPr lang="ru-RU" sz="1700" dirty="0">
                <a:solidFill>
                  <a:srgbClr val="3B3838"/>
                </a:solidFill>
              </a:rPr>
              <a:t>развивает навыки экологически грамотной хозяйственной и бытовой деятельности школьников через индивидуальную проектную деятельность</a:t>
            </a:r>
          </a:p>
          <a:p>
            <a:pPr marL="284480" lvl="0" indent="-284480">
              <a:lnSpc>
                <a:spcPct val="80000"/>
              </a:lnSpc>
              <a:spcBef>
                <a:spcPts val="8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700" b="1" dirty="0">
                <a:solidFill>
                  <a:srgbClr val="3B3838"/>
                </a:solidFill>
              </a:rPr>
              <a:t>«Экологическая безопасность» </a:t>
            </a:r>
            <a:r>
              <a:rPr lang="ru-RU" sz="1700" dirty="0">
                <a:solidFill>
                  <a:srgbClr val="3B3838"/>
                </a:solidFill>
              </a:rPr>
              <a:t>формирует знания о защищенности природных объектов, жизни, здоровья человека от источников экологической опасности </a:t>
            </a:r>
          </a:p>
          <a:p>
            <a:pPr marL="284480" lvl="0" indent="-284480">
              <a:lnSpc>
                <a:spcPct val="80000"/>
              </a:lnSpc>
              <a:spcBef>
                <a:spcPts val="8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700" b="1" dirty="0">
                <a:solidFill>
                  <a:srgbClr val="3B3838"/>
                </a:solidFill>
              </a:rPr>
              <a:t>«Индивидуальный проект. Актуальная экология» </a:t>
            </a:r>
            <a:r>
              <a:rPr lang="ru-RU" sz="1700" dirty="0">
                <a:solidFill>
                  <a:srgbClr val="3B3838"/>
                </a:solidFill>
              </a:rPr>
              <a:t>уделяет внимание актуальным экологическим проектам с упором на ситуацию в нашей стране, развивает умение решать </a:t>
            </a:r>
            <a:r>
              <a:rPr lang="ru-RU" sz="1700" dirty="0" err="1">
                <a:solidFill>
                  <a:srgbClr val="3B3838"/>
                </a:solidFill>
              </a:rPr>
              <a:t>разноформатные</a:t>
            </a:r>
            <a:r>
              <a:rPr lang="ru-RU" sz="1700" dirty="0">
                <a:solidFill>
                  <a:srgbClr val="3B3838"/>
                </a:solidFill>
              </a:rPr>
              <a:t> задачи </a:t>
            </a:r>
          </a:p>
          <a:p>
            <a:pPr marL="284480" lvl="0" indent="-284480">
              <a:lnSpc>
                <a:spcPct val="80000"/>
              </a:lnSpc>
              <a:spcBef>
                <a:spcPts val="8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700" dirty="0">
                <a:solidFill>
                  <a:srgbClr val="3B3838"/>
                </a:solidFill>
              </a:rPr>
              <a:t>Курс может быть реализован в урочной и внеурочной деятельности</a:t>
            </a:r>
          </a:p>
        </p:txBody>
      </p:sp>
      <p:sp>
        <p:nvSpPr>
          <p:cNvPr id="4" name="Текстовое поле 3"/>
          <p:cNvSpPr txBox="1"/>
          <p:nvPr/>
        </p:nvSpPr>
        <p:spPr>
          <a:xfrm>
            <a:off x="869950" y="5594350"/>
            <a:ext cx="424370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en-US" sz="2800" b="1">
                <a:solidFill>
                  <a:srgbClr val="002060"/>
                </a:solidFill>
              </a:rPr>
              <a:t>Учебники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37987" y="6539932"/>
            <a:ext cx="3006571" cy="153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Рисунок 5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75" b="10875"/>
          <a:stretch>
            <a:fillRect/>
          </a:stretch>
        </p:blipFill>
        <p:spPr>
          <a:xfrm>
            <a:off x="568676" y="1899263"/>
            <a:ext cx="6337070" cy="4958737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393076" y="678346"/>
            <a:ext cx="5526389" cy="13177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r>
              <a:rPr lang="en-US" b="1" dirty="0" err="1">
                <a:solidFill>
                  <a:srgbClr val="233C78"/>
                </a:solidFill>
                <a:latin typeface="+mn-lt"/>
              </a:rPr>
              <a:t>Обучающее</a:t>
            </a:r>
            <a:r>
              <a:rPr lang="en-US" b="1" dirty="0">
                <a:solidFill>
                  <a:srgbClr val="233C78"/>
                </a:solidFill>
                <a:latin typeface="+mn-lt"/>
              </a:rPr>
              <a:t> </a:t>
            </a:r>
            <a:r>
              <a:rPr lang="en-US" b="1" dirty="0" err="1">
                <a:solidFill>
                  <a:srgbClr val="233C78"/>
                </a:solidFill>
                <a:latin typeface="+mn-lt"/>
              </a:rPr>
              <a:t>сопровождение</a:t>
            </a:r>
            <a:r>
              <a:rPr lang="en-US" b="1" dirty="0">
                <a:solidFill>
                  <a:srgbClr val="233C78"/>
                </a:solidFill>
                <a:latin typeface="+mn-lt"/>
              </a:rPr>
              <a:t> </a:t>
            </a:r>
            <a:r>
              <a:rPr lang="en-US" b="1" dirty="0" err="1">
                <a:solidFill>
                  <a:srgbClr val="233C78"/>
                </a:solidFill>
                <a:latin typeface="+mn-lt"/>
              </a:rPr>
              <a:t>проектной</a:t>
            </a:r>
            <a:r>
              <a:rPr lang="en-US" b="1" dirty="0">
                <a:solidFill>
                  <a:srgbClr val="233C78"/>
                </a:solidFill>
                <a:latin typeface="+mn-lt"/>
              </a:rPr>
              <a:t> </a:t>
            </a:r>
            <a:r>
              <a:rPr lang="en-US" b="1" dirty="0" err="1">
                <a:solidFill>
                  <a:srgbClr val="233C78"/>
                </a:solidFill>
                <a:latin typeface="+mn-lt"/>
              </a:rPr>
              <a:t>деятельности</a:t>
            </a:r>
            <a:r>
              <a:rPr lang="en-US" b="1" dirty="0">
                <a:solidFill>
                  <a:srgbClr val="233C78"/>
                </a:solidFill>
                <a:latin typeface="+mn-lt"/>
              </a:rPr>
              <a:t> </a:t>
            </a:r>
            <a:r>
              <a:rPr lang="en-US" b="1" dirty="0" err="1">
                <a:solidFill>
                  <a:srgbClr val="233C78"/>
                </a:solidFill>
                <a:latin typeface="+mn-lt"/>
              </a:rPr>
              <a:t>школьников</a:t>
            </a:r>
            <a:r>
              <a:rPr lang="en-US" b="1" dirty="0">
                <a:solidFill>
                  <a:srgbClr val="233C78"/>
                </a:solidFill>
                <a:latin typeface="+mn-lt"/>
              </a:rPr>
              <a:t> </a:t>
            </a:r>
            <a:r>
              <a:rPr lang="ru-RU" b="1" dirty="0">
                <a:solidFill>
                  <a:srgbClr val="233C78"/>
                </a:solidFill>
                <a:latin typeface="+mn-lt"/>
              </a:rPr>
              <a:t>5</a:t>
            </a:r>
            <a:r>
              <a:rPr lang="en-US" b="1" dirty="0">
                <a:solidFill>
                  <a:srgbClr val="233C78"/>
                </a:solidFill>
                <a:latin typeface="+mn-lt"/>
              </a:rPr>
              <a:t>—11 </a:t>
            </a:r>
            <a:r>
              <a:rPr lang="en-US" b="1" dirty="0" err="1">
                <a:solidFill>
                  <a:srgbClr val="233C78"/>
                </a:solidFill>
                <a:latin typeface="+mn-lt"/>
              </a:rPr>
              <a:t>классов</a:t>
            </a:r>
            <a:endParaRPr lang="ru-RU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2052" name="Picture 4" descr="Компьютерные иконки Педагогическое образование Педагогическое образование  Обучение, учитель, синий, текст png | PNGEg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86782" y1="8358" x2="86782" y2="8358"/>
                        <a14:foregroundMark x1="24425" y1="7761" x2="24425" y2="7761"/>
                      </a14:backgroundRemoval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57680" y="4884218"/>
            <a:ext cx="692002" cy="737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Компьютерные иконки Офисный стол, Услуги, угол, здание, текст png | PNGWi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96333" l="10000" r="90000">
                        <a14:foregroundMark x1="51087" y1="16500" x2="51087" y2="16500"/>
                        <a14:foregroundMark x1="52065" y1="37833" x2="52065" y2="378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70147" y="2942430"/>
            <a:ext cx="1127793" cy="735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Компьютерные иконки стол офис продаж, человек рабочий стол, Разное, текст,  сервис png | PNGWi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60435" y1="30859" x2="60435" y2="30859"/>
                        <a14:foregroundMark x1="55435" y1="47656" x2="55435" y2="47656"/>
                        <a14:foregroundMark x1="62717" y1="44922" x2="62717" y2="44922"/>
                        <a14:foregroundMark x1="38043" y1="50195" x2="38043" y2="50195"/>
                      </a14:backgroundRemoval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00442" y="3880174"/>
            <a:ext cx="1324158" cy="736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Компьютерные иконки Офис Предприниматель Инкапсулированный PostScript,  Вакансия, разное, текст, логотип png | PNGWi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5586" b="100000" l="10000" r="90000">
                        <a14:foregroundMark x1="53587" y1="37305" x2="53587" y2="37305"/>
                        <a14:foregroundMark x1="56522" y1="54883" x2="56522" y2="54883"/>
                        <a14:foregroundMark x1="61087" y1="53906" x2="61087" y2="53906"/>
                        <a14:foregroundMark x1="61522" y1="58398" x2="61522" y2="58398"/>
                        <a14:foregroundMark x1="62174" y1="62500" x2="62174" y2="62500"/>
                        <a14:foregroundMark x1="40435" y1="49219" x2="40435" y2="49219"/>
                        <a14:foregroundMark x1="40000" y1="55273" x2="40000" y2="55273"/>
                        <a14:foregroundMark x1="40109" y1="58398" x2="40109" y2="58398"/>
                        <a14:foregroundMark x1="40435" y1="64258" x2="40435" y2="64258"/>
                      </a14:backgroundRemoval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09624" y="1702621"/>
            <a:ext cx="1573120" cy="87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010421" y="46794"/>
            <a:ext cx="10701644" cy="404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tabLst>
                <a:tab pos="7416800" algn="l"/>
              </a:tabLst>
              <a:defRPr/>
            </a:pPr>
            <a:r>
              <a:rPr lang="ru-RU" sz="2400" b="1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Цифровой сервис «Лаборатория проектов»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20"/>
          <a:stretch>
            <a:fillRect/>
          </a:stretch>
        </p:blipFill>
        <p:spPr bwMode="auto">
          <a:xfrm>
            <a:off x="1464317" y="2532830"/>
            <a:ext cx="4533071" cy="2862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Группа 5"/>
          <p:cNvGrpSpPr/>
          <p:nvPr/>
        </p:nvGrpSpPr>
        <p:grpSpPr>
          <a:xfrm>
            <a:off x="7464425" y="1778000"/>
            <a:ext cx="4350385" cy="1918110"/>
            <a:chOff x="7464425" y="1778036"/>
            <a:chExt cx="3808351" cy="1918335"/>
          </a:xfrm>
        </p:grpSpPr>
        <p:grpSp>
          <p:nvGrpSpPr>
            <p:cNvPr id="10" name="Группа 9"/>
            <p:cNvGrpSpPr/>
            <p:nvPr/>
          </p:nvGrpSpPr>
          <p:grpSpPr>
            <a:xfrm>
              <a:off x="7464425" y="2743124"/>
              <a:ext cx="3808351" cy="953247"/>
              <a:chOff x="6598069" y="1213731"/>
              <a:chExt cx="3808351" cy="953247"/>
            </a:xfrm>
          </p:grpSpPr>
          <p:sp>
            <p:nvSpPr>
              <p:cNvPr id="11" name="Скругленный прямоугольник 10"/>
              <p:cNvSpPr/>
              <p:nvPr/>
            </p:nvSpPr>
            <p:spPr>
              <a:xfrm>
                <a:off x="6600824" y="1219755"/>
                <a:ext cx="3805595" cy="732436"/>
              </a:xfrm>
              <a:prstGeom prst="roundRect">
                <a:avLst>
                  <a:gd name="adj" fmla="val 50000"/>
                </a:avLst>
              </a:prstGeom>
              <a:solidFill>
                <a:srgbClr val="233C78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x-none" dirty="0"/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7332418" y="1213731"/>
                <a:ext cx="3074002" cy="9532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400" b="1" dirty="0">
                    <a:solidFill>
                      <a:schemeClr val="bg1"/>
                    </a:solidFill>
                    <a:ea typeface="Open Sans Condensed" pitchFamily="34" charset="0"/>
                    <a:cs typeface="Open Sans Condensed" pitchFamily="34" charset="0"/>
                  </a:rPr>
                  <a:t>4 вида проектов  и 4 уровня сложности для дифференцированного подхода</a:t>
                </a:r>
              </a:p>
              <a:p>
                <a:r>
                  <a:rPr lang="ru-RU" sz="1400" b="1" dirty="0">
                    <a:solidFill>
                      <a:schemeClr val="bg1"/>
                    </a:solidFill>
                    <a:ea typeface="Open Sans Condensed" pitchFamily="34" charset="0"/>
                    <a:cs typeface="Open Sans Condensed" pitchFamily="34" charset="0"/>
                  </a:rPr>
                  <a:t> </a:t>
                </a:r>
              </a:p>
            </p:txBody>
          </p:sp>
          <p:sp>
            <p:nvSpPr>
              <p:cNvPr id="17" name="Овал 16"/>
              <p:cNvSpPr>
                <a:spLocks noChangeAspect="1"/>
              </p:cNvSpPr>
              <p:nvPr/>
            </p:nvSpPr>
            <p:spPr>
              <a:xfrm rot="5400000">
                <a:off x="6598069" y="1231373"/>
                <a:ext cx="709200" cy="7092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233C7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x-none"/>
              </a:p>
            </p:txBody>
          </p:sp>
        </p:grpSp>
        <p:grpSp>
          <p:nvGrpSpPr>
            <p:cNvPr id="2" name="Группа 1"/>
            <p:cNvGrpSpPr/>
            <p:nvPr/>
          </p:nvGrpSpPr>
          <p:grpSpPr>
            <a:xfrm>
              <a:off x="7464425" y="1778036"/>
              <a:ext cx="3808351" cy="732436"/>
              <a:chOff x="7464425" y="1778036"/>
              <a:chExt cx="3808351" cy="732436"/>
            </a:xfrm>
          </p:grpSpPr>
          <p:grpSp>
            <p:nvGrpSpPr>
              <p:cNvPr id="4" name="Группа 3"/>
              <p:cNvGrpSpPr/>
              <p:nvPr/>
            </p:nvGrpSpPr>
            <p:grpSpPr>
              <a:xfrm>
                <a:off x="7464425" y="1778036"/>
                <a:ext cx="3808351" cy="732436"/>
                <a:chOff x="6598069" y="1219755"/>
                <a:chExt cx="3808351" cy="732436"/>
              </a:xfrm>
            </p:grpSpPr>
            <p:sp>
              <p:nvSpPr>
                <p:cNvPr id="5" name="Скругленный прямоугольник 4"/>
                <p:cNvSpPr/>
                <p:nvPr/>
              </p:nvSpPr>
              <p:spPr>
                <a:xfrm>
                  <a:off x="6600824" y="1219755"/>
                  <a:ext cx="3805596" cy="732436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233C78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x-none" dirty="0"/>
                </a:p>
              </p:txBody>
            </p:sp>
            <p:sp>
              <p:nvSpPr>
                <p:cNvPr id="7" name="TextBox 6"/>
                <p:cNvSpPr txBox="1"/>
                <p:nvPr/>
              </p:nvSpPr>
              <p:spPr>
                <a:xfrm>
                  <a:off x="7332417" y="1324363"/>
                  <a:ext cx="2968950" cy="5220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1400" b="1" dirty="0">
                      <a:solidFill>
                        <a:schemeClr val="bg1"/>
                      </a:solidFill>
                      <a:ea typeface="Open Sans Condensed" pitchFamily="34" charset="0"/>
                      <a:cs typeface="Open Sans Condensed" pitchFamily="34" charset="0"/>
                    </a:rPr>
                    <a:t>ученику легче создать проект, а учителю – оценить уровень работы</a:t>
                  </a:r>
                </a:p>
              </p:txBody>
            </p:sp>
            <p:sp>
              <p:nvSpPr>
                <p:cNvPr id="8" name="Овал 7"/>
                <p:cNvSpPr>
                  <a:spLocks noChangeAspect="1"/>
                </p:cNvSpPr>
                <p:nvPr/>
              </p:nvSpPr>
              <p:spPr>
                <a:xfrm rot="5400000">
                  <a:off x="6598069" y="1231373"/>
                  <a:ext cx="709200" cy="70920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233C7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x-none"/>
                </a:p>
              </p:txBody>
            </p:sp>
          </p:grpSp>
          <p:pic>
            <p:nvPicPr>
              <p:cNvPr id="5122" name="Picture 2"/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30094" y="1812029"/>
                <a:ext cx="577859" cy="656658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5964" y="2787037"/>
              <a:ext cx="577859" cy="656658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Группа 8"/>
          <p:cNvGrpSpPr/>
          <p:nvPr/>
        </p:nvGrpSpPr>
        <p:grpSpPr>
          <a:xfrm>
            <a:off x="7464425" y="3743325"/>
            <a:ext cx="4350385" cy="732155"/>
            <a:chOff x="7464424" y="3901506"/>
            <a:chExt cx="3805593" cy="732436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7464424" y="3901506"/>
              <a:ext cx="3805593" cy="732436"/>
              <a:chOff x="6598069" y="1219755"/>
              <a:chExt cx="3805593" cy="732436"/>
            </a:xfrm>
          </p:grpSpPr>
          <p:sp>
            <p:nvSpPr>
              <p:cNvPr id="48" name="Скругленный прямоугольник 47"/>
              <p:cNvSpPr/>
              <p:nvPr/>
            </p:nvSpPr>
            <p:spPr>
              <a:xfrm>
                <a:off x="6600825" y="1219755"/>
                <a:ext cx="3802837" cy="732436"/>
              </a:xfrm>
              <a:prstGeom prst="roundRect">
                <a:avLst>
                  <a:gd name="adj" fmla="val 50000"/>
                </a:avLst>
              </a:prstGeom>
              <a:solidFill>
                <a:srgbClr val="233C78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x-none" dirty="0"/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7456580" y="1313700"/>
                <a:ext cx="2947081" cy="4783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>
                  <a:lnSpc>
                    <a:spcPct val="90000"/>
                  </a:lnSpc>
                  <a:defRPr/>
                </a:pPr>
                <a:r>
                  <a:rPr lang="ru-RU" sz="1400" b="1" dirty="0">
                    <a:solidFill>
                      <a:schemeClr val="bg1"/>
                    </a:solidFill>
                    <a:ea typeface="Open Sans Condensed" pitchFamily="34" charset="0"/>
                    <a:cs typeface="Open Sans Condensed" pitchFamily="34" charset="0"/>
                  </a:rPr>
                  <a:t>Конструктор учитывает школьную специфику</a:t>
                </a:r>
              </a:p>
            </p:txBody>
          </p:sp>
          <p:sp>
            <p:nvSpPr>
              <p:cNvPr id="50" name="Овал 49"/>
              <p:cNvSpPr>
                <a:spLocks noChangeAspect="1"/>
              </p:cNvSpPr>
              <p:nvPr/>
            </p:nvSpPr>
            <p:spPr>
              <a:xfrm rot="5400000">
                <a:off x="6598069" y="1231373"/>
                <a:ext cx="709200" cy="7092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233C7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x-none"/>
              </a:p>
            </p:txBody>
          </p:sp>
        </p:grpSp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5964" y="3960439"/>
              <a:ext cx="577859" cy="656658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8" name="Прямоугольник 27"/>
          <p:cNvSpPr/>
          <p:nvPr/>
        </p:nvSpPr>
        <p:spPr>
          <a:xfrm>
            <a:off x="8771175" y="5442809"/>
            <a:ext cx="2495550" cy="3371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233C78"/>
                </a:solidFill>
              </a:rPr>
              <a:t>https://media.prosv.ru/lsp/</a:t>
            </a:r>
            <a:endParaRPr lang="en-GB" sz="1600" dirty="0">
              <a:solidFill>
                <a:srgbClr val="233C78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8502630" y="5135032"/>
            <a:ext cx="2361236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>
              <a:buSzPct val="100000"/>
              <a:defRPr/>
            </a:pPr>
            <a:r>
              <a:rPr lang="ru-RU" sz="1400" b="1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Больше информации </a:t>
            </a:r>
          </a:p>
        </p:txBody>
      </p:sp>
      <p:pic>
        <p:nvPicPr>
          <p:cNvPr id="5124" name="Picture 4" descr="http://qrcoder.ru/code/?https%3A%2F%2Fmedia.prosv.ru%2Flsp%2F&amp;4&amp;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740" y="4705266"/>
            <a:ext cx="1130065" cy="1130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3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873318" y="144606"/>
            <a:ext cx="10029387" cy="4585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800" b="1" dirty="0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Почему именно экологические исследования?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74537" y="980728"/>
            <a:ext cx="11898930" cy="19328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ru-RU" sz="2000" b="1" dirty="0">
                <a:solidFill>
                  <a:srgbClr val="008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Экологическая культура</a:t>
            </a:r>
            <a:r>
              <a:rPr lang="ru-RU" dirty="0"/>
              <a:t> — часть общечеловеческой культуры, система социальных отношений, общественных и индивидуальных морально-этических норм, взглядов, установок и ценностей, касающихся взаимоотношения человека и природы; гармоничность сосуществования человеческого общества и окружающей природной среды; целостный </a:t>
            </a:r>
            <a:r>
              <a:rPr lang="ru-RU" dirty="0" err="1"/>
              <a:t>коадаптивный</a:t>
            </a:r>
            <a:r>
              <a:rPr lang="ru-RU" dirty="0"/>
              <a:t> механизм человека и природы, реализующийся через отношение человеческого общества к окружающей природной среде и к экологическим проблемам в целом.</a:t>
            </a:r>
          </a:p>
        </p:txBody>
      </p:sp>
      <p:pic>
        <p:nvPicPr>
          <p:cNvPr id="16" name="Picture 4" descr="https://png.pngtree.com/back_origin_pic/03/64/89/90d6f6563da094832f5d1fa15b2ef8a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9832" y="3101599"/>
            <a:ext cx="7848340" cy="324036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37987" y="6539932"/>
            <a:ext cx="3006571" cy="153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/>
          <p:cNvSpPr txBox="1"/>
          <p:nvPr/>
        </p:nvSpPr>
        <p:spPr>
          <a:xfrm>
            <a:off x="543462" y="4021374"/>
            <a:ext cx="3791145" cy="1182886"/>
          </a:xfrm>
          <a:prstGeom prst="rect">
            <a:avLst/>
          </a:prstGeom>
        </p:spPr>
        <p:txBody>
          <a:bodyPr lIns="60954" tIns="30477" rIns="60954" bIns="30477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09600" indent="-457200">
              <a:spcBef>
                <a:spcPts val="800"/>
              </a:spcBef>
              <a:buSzPts val="1800"/>
              <a:buFont typeface="Arial" panose="020B0604020202020204" pitchFamily="34" charset="0"/>
              <a:buChar char="▸"/>
            </a:pPr>
            <a:r>
              <a:rPr lang="ru-RU" sz="1600" dirty="0">
                <a:solidFill>
                  <a:srgbClr val="28458D"/>
                </a:solidFill>
                <a:latin typeface="Calibri" panose="020F0502020204030204" charset="0"/>
                <a:cs typeface="Open Sans Condensed" pitchFamily="34" charset="0"/>
              </a:rPr>
              <a:t>Обязательность организации проектной деятельности в школе (</a:t>
            </a:r>
            <a:r>
              <a:rPr lang="ru-RU" sz="1600" dirty="0" err="1">
                <a:solidFill>
                  <a:srgbClr val="28458D"/>
                </a:solidFill>
                <a:latin typeface="Calibri" panose="020F0502020204030204" charset="0"/>
                <a:cs typeface="Open Sans Condensed" pitchFamily="34" charset="0"/>
              </a:rPr>
              <a:t>ФГОСы</a:t>
            </a:r>
            <a:r>
              <a:rPr lang="ru-RU" sz="1600" dirty="0">
                <a:solidFill>
                  <a:srgbClr val="28458D"/>
                </a:solidFill>
                <a:latin typeface="Calibri" panose="020F0502020204030204" charset="0"/>
                <a:cs typeface="Open Sans Condensed" pitchFamily="34" charset="0"/>
              </a:rPr>
              <a:t>)</a:t>
            </a:r>
          </a:p>
          <a:p>
            <a:pPr marL="609600" indent="-457200">
              <a:spcBef>
                <a:spcPts val="800"/>
              </a:spcBef>
              <a:buSzPts val="1800"/>
              <a:buFont typeface="Arial" panose="020B0604020202020204" pitchFamily="34" charset="0"/>
              <a:buChar char="▸"/>
            </a:pPr>
            <a:r>
              <a:rPr lang="ru-RU" sz="1600" dirty="0">
                <a:solidFill>
                  <a:srgbClr val="28458D"/>
                </a:solidFill>
                <a:latin typeface="Calibri" panose="020F0502020204030204" charset="0"/>
                <a:cs typeface="Open Sans Condensed" pitchFamily="34" charset="0"/>
              </a:rPr>
              <a:t>Обязательность развития информационно-образовательной среды</a:t>
            </a:r>
          </a:p>
          <a:p>
            <a:pPr marL="609600" indent="-457200">
              <a:spcBef>
                <a:spcPts val="800"/>
              </a:spcBef>
              <a:buSzPts val="1800"/>
              <a:buFont typeface="Arial" panose="020B0604020202020204" pitchFamily="34" charset="0"/>
              <a:buChar char="▸"/>
            </a:pPr>
            <a:r>
              <a:rPr lang="ru-RU" sz="1600" dirty="0">
                <a:solidFill>
                  <a:srgbClr val="28458D"/>
                </a:solidFill>
                <a:latin typeface="Calibri" panose="020F0502020204030204" charset="0"/>
                <a:cs typeface="Open Sans Condensed" pitchFamily="34" charset="0"/>
              </a:rPr>
              <a:t>Результат защиты индивидуального проекта – в аттестат</a:t>
            </a:r>
          </a:p>
          <a:p>
            <a:pPr marL="609600" indent="-457200">
              <a:spcBef>
                <a:spcPts val="800"/>
              </a:spcBef>
              <a:buSzPts val="1800"/>
              <a:buFont typeface="Arial" panose="020B0604020202020204" pitchFamily="34" charset="0"/>
              <a:buChar char="▸"/>
            </a:pPr>
            <a:endParaRPr lang="ru-RU" sz="1500" dirty="0">
              <a:solidFill>
                <a:schemeClr val="accent1">
                  <a:lumMod val="50000"/>
                </a:schemeClr>
              </a:solidFill>
              <a:latin typeface="Calibri" panose="020F0502020204030204" charset="0"/>
              <a:cs typeface="Arial" panose="020B0604020202020204" pitchFamily="34" charset="0"/>
            </a:endParaRPr>
          </a:p>
          <a:p>
            <a:endParaRPr lang="ru-RU" sz="1500" dirty="0">
              <a:solidFill>
                <a:schemeClr val="accent1">
                  <a:lumMod val="50000"/>
                </a:schemeClr>
              </a:solidFill>
              <a:latin typeface="Calibri" panose="020F0502020204030204" charset="0"/>
              <a:cs typeface="Arial" panose="020B0604020202020204" pitchFamily="34" charset="0"/>
            </a:endParaRPr>
          </a:p>
        </p:txBody>
      </p:sp>
      <p:sp>
        <p:nvSpPr>
          <p:cNvPr id="12" name="Текст 6"/>
          <p:cNvSpPr txBox="1"/>
          <p:nvPr/>
        </p:nvSpPr>
        <p:spPr>
          <a:xfrm>
            <a:off x="4402335" y="4115785"/>
            <a:ext cx="3576800" cy="1462531"/>
          </a:xfrm>
          <a:prstGeom prst="rect">
            <a:avLst/>
          </a:prstGeom>
        </p:spPr>
        <p:txBody>
          <a:bodyPr lIns="60954" tIns="30477" rIns="60954" bIns="30477"/>
          <a:lstStyle>
            <a:defPPr>
              <a:defRPr lang="ru-RU"/>
            </a:defPPr>
            <a:lvl1pPr marL="609600" indent="-457200">
              <a:lnSpc>
                <a:spcPct val="90000"/>
              </a:lnSpc>
              <a:spcBef>
                <a:spcPts val="800"/>
              </a:spcBef>
              <a:buSzPts val="1800"/>
              <a:buFont typeface="Arial" panose="020B0604020202020204" pitchFamily="34" charset="0"/>
              <a:buChar char="▸"/>
              <a:defRPr sz="1600">
                <a:solidFill>
                  <a:srgbClr val="28458D"/>
                </a:solidFill>
                <a:latin typeface="Calibri" panose="020F0502020204030204" charset="0"/>
                <a:cs typeface="Open Sans Condensed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/>
              <a:t>Недостаточность проектных компетенций у учителей</a:t>
            </a:r>
          </a:p>
          <a:p>
            <a:r>
              <a:rPr lang="ru-RU" dirty="0"/>
              <a:t>«Дополнительная» нагрузка учителя (нет времени подготовить достаточный массив материалов)</a:t>
            </a:r>
          </a:p>
          <a:p>
            <a:r>
              <a:rPr lang="ru-RU" dirty="0"/>
              <a:t>Отсутствие инструментов информационно-образовательной среды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506620" y="1230947"/>
            <a:ext cx="3278906" cy="1815882"/>
          </a:xfrm>
          <a:prstGeom prst="rect">
            <a:avLst/>
          </a:prstGeom>
        </p:spPr>
        <p:txBody>
          <a:bodyPr wrap="square" lIns="60954" tIns="30477" rIns="60954" bIns="30477">
            <a:spAutoFit/>
          </a:bodyPr>
          <a:lstStyle/>
          <a:p>
            <a:pPr algn="ctr">
              <a:buSzPct val="100000"/>
            </a:pPr>
            <a:r>
              <a:rPr lang="ru-RU" sz="3200" b="1" dirty="0">
                <a:solidFill>
                  <a:srgbClr val="00B050"/>
                </a:solidFill>
                <a:latin typeface="Calibri" panose="020F0502020204030204" charset="0"/>
                <a:cs typeface="Arial" panose="020B0604020202020204" pitchFamily="34" charset="0"/>
              </a:rPr>
              <a:t>5 – 11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Calibri" panose="020F0502020204030204" charset="0"/>
                <a:cs typeface="Arial" panose="020B0604020202020204" pitchFamily="34" charset="0"/>
              </a:rPr>
              <a:t>классы</a:t>
            </a:r>
          </a:p>
          <a:p>
            <a:pPr algn="ctr">
              <a:buSzPct val="100000"/>
            </a:pPr>
            <a:r>
              <a:rPr lang="ru-RU" sz="3200" b="1" dirty="0">
                <a:solidFill>
                  <a:srgbClr val="00B050"/>
                </a:solidFill>
                <a:latin typeface="Calibri" panose="020F0502020204030204" charset="0"/>
                <a:cs typeface="Arial" panose="020B0604020202020204" pitchFamily="34" charset="0"/>
              </a:rPr>
              <a:t>150+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Calibri" panose="020F0502020204030204" charset="0"/>
                <a:cs typeface="Arial" panose="020B0604020202020204" pitchFamily="34" charset="0"/>
              </a:rPr>
              <a:t> проектов</a:t>
            </a:r>
          </a:p>
          <a:p>
            <a:pPr algn="ctr">
              <a:buSzPct val="100000"/>
            </a:pPr>
            <a:r>
              <a:rPr lang="ru-RU" sz="3200" b="1" dirty="0">
                <a:solidFill>
                  <a:srgbClr val="00B050"/>
                </a:solidFill>
                <a:latin typeface="Calibri" panose="020F0502020204030204" charset="0"/>
                <a:cs typeface="Arial" panose="020B0604020202020204" pitchFamily="34" charset="0"/>
              </a:rPr>
              <a:t>24/7</a:t>
            </a:r>
          </a:p>
          <a:p>
            <a:pPr algn="ctr">
              <a:buSzPct val="100000"/>
            </a:pPr>
            <a:endParaRPr lang="ru-RU" dirty="0">
              <a:solidFill>
                <a:schemeClr val="accent1">
                  <a:lumMod val="50000"/>
                </a:schemeClr>
              </a:solidFill>
              <a:latin typeface="Calibri" panose="020F0502020204030204" charset="0"/>
              <a:cs typeface="Arial" panose="020B0604020202020204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34938" y="1273493"/>
            <a:ext cx="1933230" cy="1877597"/>
          </a:xfrm>
          <a:prstGeom prst="rect">
            <a:avLst/>
          </a:prstGeom>
        </p:spPr>
      </p:pic>
      <p:sp>
        <p:nvSpPr>
          <p:cNvPr id="17" name="Текст 6"/>
          <p:cNvSpPr txBox="1"/>
          <p:nvPr/>
        </p:nvSpPr>
        <p:spPr>
          <a:xfrm>
            <a:off x="8261208" y="3919698"/>
            <a:ext cx="3576800" cy="1462531"/>
          </a:xfrm>
          <a:prstGeom prst="rect">
            <a:avLst/>
          </a:prstGeom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609600" lvl="0" indent="-4572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▸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00" lvl="1" indent="-4572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▹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lvl="2" indent="-4572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▹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38400" lvl="3" indent="-4572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▹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0" lvl="4" indent="-4572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▹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600" lvl="5" indent="-4572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▹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200" lvl="6" indent="-4572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▹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800" lvl="7" indent="-4572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▹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lvl="8" indent="-4572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▹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>
                <a:solidFill>
                  <a:srgbClr val="28458D"/>
                </a:solidFill>
                <a:latin typeface="Calibri" panose="020F0502020204030204" charset="0"/>
                <a:cs typeface="Open Sans Condensed" pitchFamily="34" charset="0"/>
              </a:rPr>
              <a:t>Обучающий алгоритм по овладению проектными компетенциями</a:t>
            </a:r>
          </a:p>
          <a:p>
            <a:r>
              <a:rPr lang="ru-RU" sz="1600" dirty="0">
                <a:solidFill>
                  <a:srgbClr val="28458D"/>
                </a:solidFill>
                <a:latin typeface="Calibri" panose="020F0502020204030204" charset="0"/>
                <a:cs typeface="Open Sans Condensed" pitchFamily="34" charset="0"/>
              </a:rPr>
              <a:t>Практическая отработка проектных компетенций на значительном объеме готового контента</a:t>
            </a:r>
          </a:p>
          <a:p>
            <a:r>
              <a:rPr lang="ru-RU" sz="1600" dirty="0">
                <a:solidFill>
                  <a:srgbClr val="28458D"/>
                </a:solidFill>
                <a:latin typeface="Calibri" panose="020F0502020204030204" charset="0"/>
                <a:cs typeface="Open Sans Condensed" pitchFamily="34" charset="0"/>
              </a:rPr>
              <a:t>Единые критерии оценивания и самооценки </a:t>
            </a:r>
          </a:p>
          <a:p>
            <a:endParaRPr lang="ru-RU" sz="1500" dirty="0">
              <a:solidFill>
                <a:schemeClr val="accent1">
                  <a:lumMod val="50000"/>
                </a:schemeClr>
              </a:solidFill>
              <a:latin typeface="Calibri" panose="020F050202020403020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6242538" y="6356351"/>
            <a:ext cx="380707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3334" y="992855"/>
            <a:ext cx="5913458" cy="2848885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8852892" y="3157141"/>
            <a:ext cx="2897320" cy="677102"/>
          </a:xfrm>
          <a:prstGeom prst="rect">
            <a:avLst/>
          </a:prstGeom>
        </p:spPr>
        <p:txBody>
          <a:bodyPr wrap="square" lIns="60954" tIns="30477" rIns="60954" bIns="30477">
            <a:spAutoFit/>
          </a:bodyPr>
          <a:lstStyle/>
          <a:p>
            <a:pPr algn="ctr">
              <a:buSzPct val="100000"/>
            </a:pPr>
            <a:r>
              <a:rPr lang="ru-RU" sz="2000" b="1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Больше информации на странице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873817" y="96109"/>
            <a:ext cx="10701644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tabLst>
                <a:tab pos="7416800" algn="l"/>
              </a:tabLst>
              <a:defRPr/>
            </a:pPr>
            <a:r>
              <a:rPr lang="ru-RU" sz="2400" b="1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Цифровой сервис «Лаборатория проектов»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/>
          <p:cNvSpPr txBox="1"/>
          <p:nvPr/>
        </p:nvSpPr>
        <p:spPr>
          <a:xfrm>
            <a:off x="951153" y="1398603"/>
            <a:ext cx="5565863" cy="14106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95"/>
              </a:lnSpc>
            </a:pPr>
            <a:endParaRPr lang="ru-RU" sz="1600" spc="31" dirty="0">
              <a:solidFill>
                <a:srgbClr val="14110F"/>
              </a:solidFill>
            </a:endParaRPr>
          </a:p>
          <a:p>
            <a:pPr marL="285750" indent="-285750">
              <a:lnSpc>
                <a:spcPts val="2195"/>
              </a:lnSpc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роверенный образовательный контент</a:t>
            </a:r>
          </a:p>
          <a:p>
            <a:pPr marL="285750" indent="-285750">
              <a:lnSpc>
                <a:spcPts val="2195"/>
              </a:lnSpc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дифференцированный подход в проектной деятельности</a:t>
            </a:r>
          </a:p>
          <a:p>
            <a:pPr marL="285750" indent="-285750">
              <a:lnSpc>
                <a:spcPts val="2195"/>
              </a:lnSpc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беспечивает коммуникацию учитель- ученик</a:t>
            </a:r>
            <a:endParaRPr lang="en-US" sz="1600" spc="31" dirty="0">
              <a:solidFill>
                <a:srgbClr val="14110F"/>
              </a:solidFill>
            </a:endParaRPr>
          </a:p>
        </p:txBody>
      </p:sp>
      <p:grpSp>
        <p:nvGrpSpPr>
          <p:cNvPr id="8" name="Group 4"/>
          <p:cNvGrpSpPr/>
          <p:nvPr/>
        </p:nvGrpSpPr>
        <p:grpSpPr>
          <a:xfrm>
            <a:off x="1125415" y="3188466"/>
            <a:ext cx="4589584" cy="3182817"/>
            <a:chOff x="0" y="0"/>
            <a:chExt cx="10434337" cy="7980445"/>
          </a:xfrm>
        </p:grpSpPr>
        <p:pic>
          <p:nvPicPr>
            <p:cNvPr id="9" name="Picture 5"/>
            <p:cNvPicPr>
              <a:picLocks noChangeAspect="1"/>
            </p:cNvPicPr>
            <p:nvPr/>
          </p:nvPicPr>
          <p:blipFill>
            <a:blip r:embed="rId2"/>
            <a:srcRect l="6417" r="6417"/>
            <a:stretch>
              <a:fillRect/>
            </a:stretch>
          </p:blipFill>
          <p:spPr>
            <a:xfrm>
              <a:off x="0" y="0"/>
              <a:ext cx="10434337" cy="7980445"/>
            </a:xfrm>
            <a:prstGeom prst="rect">
              <a:avLst/>
            </a:prstGeom>
          </p:spPr>
        </p:pic>
      </p:grpSp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7015" y="1606493"/>
            <a:ext cx="5348378" cy="497431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6517015" y="4178418"/>
            <a:ext cx="5348378" cy="1169545"/>
          </a:xfrm>
          <a:prstGeom prst="rect">
            <a:avLst/>
          </a:prstGeom>
        </p:spPr>
        <p:txBody>
          <a:bodyPr wrap="square" lIns="60954" tIns="30477" rIns="60954" bIns="30477">
            <a:spAutoFit/>
          </a:bodyPr>
          <a:lstStyle/>
          <a:p>
            <a:pPr algn="ctr">
              <a:buSzPct val="100000"/>
            </a:pPr>
            <a:r>
              <a:rPr lang="ru-RU" sz="2400" b="1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Отсутствие аналогов на рынке цифровых образовательных продуктов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7309962" y="2753139"/>
            <a:ext cx="3991083" cy="1046440"/>
          </a:xfrm>
          <a:prstGeom prst="rect">
            <a:avLst/>
          </a:prstGeom>
        </p:spPr>
        <p:txBody>
          <a:bodyPr wrap="square" lIns="60954" tIns="30477" rIns="60954" bIns="30477">
            <a:spAutoFit/>
          </a:bodyPr>
          <a:lstStyle/>
          <a:p>
            <a:pPr algn="ctr">
              <a:buSzPct val="100000"/>
            </a:pPr>
            <a:r>
              <a:rPr lang="ru-RU" sz="3200" b="1" dirty="0">
                <a:solidFill>
                  <a:srgbClr val="00B050"/>
                </a:solidFill>
                <a:cs typeface="Arial" panose="020B0604020202020204" pitchFamily="34" charset="0"/>
              </a:rPr>
              <a:t>4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вида проектов</a:t>
            </a:r>
          </a:p>
          <a:p>
            <a:pPr algn="ctr">
              <a:buSzPct val="100000"/>
            </a:pPr>
            <a:r>
              <a:rPr lang="ru-RU" sz="3200" b="1" dirty="0">
                <a:solidFill>
                  <a:srgbClr val="00B050"/>
                </a:solidFill>
                <a:cs typeface="Arial" panose="020B0604020202020204" pitchFamily="34" charset="0"/>
              </a:rPr>
              <a:t>4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уровня сложности проектов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242538" y="6356351"/>
            <a:ext cx="380707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8009711" y="5488743"/>
            <a:ext cx="2734489" cy="615547"/>
          </a:xfrm>
          <a:prstGeom prst="rect">
            <a:avLst/>
          </a:prstGeom>
        </p:spPr>
        <p:txBody>
          <a:bodyPr wrap="square" lIns="60954" tIns="30477" rIns="60954" bIns="30477">
            <a:spAutoFit/>
          </a:bodyPr>
          <a:lstStyle/>
          <a:p>
            <a:pPr algn="ctr">
              <a:buSzPct val="100000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  <a:hlinkClick r:id="" action="ppaction://noaction"/>
              </a:rPr>
              <a:t>Краткая инструкция пользователя</a:t>
            </a:r>
            <a:endParaRPr lang="ru-RU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2085351" y="209354"/>
            <a:ext cx="10701644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tabLst>
                <a:tab pos="7416800" algn="l"/>
              </a:tabLst>
              <a:defRPr/>
            </a:pPr>
            <a:r>
              <a:rPr lang="ru-RU" sz="2400" b="1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Цифровой сервис «Лаборатория проектов»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685800" y="1640192"/>
            <a:ext cx="5636034" cy="4786009"/>
            <a:chOff x="0" y="0"/>
            <a:chExt cx="11272067" cy="9572017"/>
          </a:xfrm>
        </p:grpSpPr>
        <p:pic>
          <p:nvPicPr>
            <p:cNvPr id="3" name="Picture 3"/>
            <p:cNvPicPr>
              <a:picLocks noChangeAspect="1"/>
            </p:cNvPicPr>
            <p:nvPr/>
          </p:nvPicPr>
          <p:blipFill>
            <a:blip r:embed="rId2"/>
            <a:srcRect l="3413" r="3413"/>
            <a:stretch>
              <a:fillRect/>
            </a:stretch>
          </p:blipFill>
          <p:spPr>
            <a:xfrm>
              <a:off x="0" y="0"/>
              <a:ext cx="11272067" cy="9572017"/>
            </a:xfrm>
            <a:prstGeom prst="rect">
              <a:avLst/>
            </a:prstGeom>
          </p:spPr>
        </p:pic>
      </p:grpSp>
      <p:sp>
        <p:nvSpPr>
          <p:cNvPr id="4" name="TextBox 4"/>
          <p:cNvSpPr txBox="1"/>
          <p:nvPr/>
        </p:nvSpPr>
        <p:spPr>
          <a:xfrm>
            <a:off x="508000" y="1059346"/>
            <a:ext cx="10279557" cy="4043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520"/>
              </a:lnSpc>
            </a:pPr>
            <a:r>
              <a:rPr lang="en-US" sz="2000" b="1" dirty="0" err="1">
                <a:solidFill>
                  <a:srgbClr val="2C4F8F"/>
                </a:solidFill>
                <a:latin typeface="Calibri" panose="020F0502020204030204" charset="0"/>
              </a:rPr>
              <a:t>Автоматическая</a:t>
            </a:r>
            <a:r>
              <a:rPr lang="en-US" sz="2000" b="1" dirty="0">
                <a:solidFill>
                  <a:srgbClr val="2C4F8F"/>
                </a:solidFill>
                <a:latin typeface="Calibri" panose="020F0502020204030204" charset="0"/>
              </a:rPr>
              <a:t> </a:t>
            </a:r>
            <a:r>
              <a:rPr lang="en-US" sz="2000" b="1" dirty="0" err="1">
                <a:solidFill>
                  <a:srgbClr val="2C4F8F"/>
                </a:solidFill>
                <a:latin typeface="Calibri" panose="020F0502020204030204" charset="0"/>
              </a:rPr>
              <a:t>выдача</a:t>
            </a:r>
            <a:r>
              <a:rPr lang="en-US" sz="2000" b="1" dirty="0">
                <a:solidFill>
                  <a:srgbClr val="2C4F8F"/>
                </a:solidFill>
                <a:latin typeface="Calibri" panose="020F0502020204030204" charset="0"/>
              </a:rPr>
              <a:t> и </a:t>
            </a:r>
            <a:r>
              <a:rPr lang="en-US" sz="2000" b="1" dirty="0" err="1">
                <a:solidFill>
                  <a:srgbClr val="2C4F8F"/>
                </a:solidFill>
                <a:latin typeface="Calibri" panose="020F0502020204030204" charset="0"/>
              </a:rPr>
              <a:t>проверка</a:t>
            </a:r>
            <a:endParaRPr lang="en-US" sz="2000" b="1" dirty="0">
              <a:solidFill>
                <a:srgbClr val="2C4F8F"/>
              </a:solidFill>
              <a:latin typeface="Calibri" panose="020F0502020204030204" charset="0"/>
            </a:endParaRPr>
          </a:p>
        </p:txBody>
      </p:sp>
      <p:sp>
        <p:nvSpPr>
          <p:cNvPr id="5" name="TextBox 5"/>
          <p:cNvSpPr txBox="1"/>
          <p:nvPr/>
        </p:nvSpPr>
        <p:spPr>
          <a:xfrm>
            <a:off x="7631539" y="1615512"/>
            <a:ext cx="4071916" cy="43875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520"/>
              </a:lnSpc>
            </a:pPr>
            <a:r>
              <a:rPr lang="en-US" dirty="0"/>
              <a:t>4 </a:t>
            </a:r>
            <a:r>
              <a:rPr lang="en-US" dirty="0" err="1"/>
              <a:t>направления</a:t>
            </a:r>
            <a:r>
              <a:rPr lang="en-US" dirty="0"/>
              <a:t> </a:t>
            </a:r>
            <a:r>
              <a:rPr lang="en-US" dirty="0" err="1"/>
              <a:t>работы</a:t>
            </a:r>
            <a:r>
              <a:rPr lang="ru-RU" dirty="0"/>
              <a:t>:</a:t>
            </a:r>
            <a:endParaRPr lang="en-US" dirty="0"/>
          </a:p>
          <a:p>
            <a:pPr>
              <a:lnSpc>
                <a:spcPts val="2520"/>
              </a:lnSpc>
            </a:pPr>
            <a:endParaRPr lang="en-US" dirty="0"/>
          </a:p>
          <a:p>
            <a:pPr marL="388620" lvl="1" indent="-194310">
              <a:lnSpc>
                <a:spcPts val="2520"/>
              </a:lnSpc>
              <a:buFont typeface="Arial" panose="020B0604020202020204"/>
              <a:buChar char="•"/>
            </a:pPr>
            <a:r>
              <a:rPr lang="en-US" dirty="0" err="1"/>
              <a:t>Исследовательское</a:t>
            </a:r>
            <a:r>
              <a:rPr lang="en-US" dirty="0"/>
              <a:t> (</a:t>
            </a:r>
            <a:r>
              <a:rPr lang="en-US" dirty="0" err="1"/>
              <a:t>естественно-научное</a:t>
            </a:r>
            <a:r>
              <a:rPr lang="en-US" dirty="0"/>
              <a:t> </a:t>
            </a:r>
            <a:r>
              <a:rPr lang="en-US" dirty="0" err="1"/>
              <a:t>и</a:t>
            </a:r>
            <a:r>
              <a:rPr lang="en-US" dirty="0"/>
              <a:t> </a:t>
            </a:r>
            <a:r>
              <a:rPr lang="en-US" dirty="0" err="1"/>
              <a:t>гуманитарное</a:t>
            </a:r>
            <a:r>
              <a:rPr lang="en-US" dirty="0"/>
              <a:t>)</a:t>
            </a:r>
          </a:p>
          <a:p>
            <a:pPr marL="388620" lvl="1" indent="-194310">
              <a:lnSpc>
                <a:spcPts val="2520"/>
              </a:lnSpc>
              <a:buFont typeface="Arial" panose="020B0604020202020204"/>
              <a:buChar char="•"/>
            </a:pPr>
            <a:r>
              <a:rPr lang="en-US" dirty="0" err="1"/>
              <a:t>Производственное</a:t>
            </a:r>
            <a:r>
              <a:rPr lang="en-US" dirty="0"/>
              <a:t> (</a:t>
            </a:r>
            <a:r>
              <a:rPr lang="en-US" dirty="0" err="1"/>
              <a:t>создание</a:t>
            </a:r>
            <a:r>
              <a:rPr lang="en-US" dirty="0"/>
              <a:t> </a:t>
            </a:r>
            <a:r>
              <a:rPr lang="en-US" dirty="0" err="1"/>
              <a:t>продукта</a:t>
            </a:r>
            <a:r>
              <a:rPr lang="en-US" dirty="0"/>
              <a:t>)</a:t>
            </a:r>
          </a:p>
          <a:p>
            <a:pPr marL="388620" lvl="1" indent="-194310">
              <a:lnSpc>
                <a:spcPts val="2520"/>
              </a:lnSpc>
              <a:buFont typeface="Arial" panose="020B0604020202020204"/>
              <a:buChar char="•"/>
            </a:pPr>
            <a:r>
              <a:rPr lang="en-US" dirty="0" err="1"/>
              <a:t>Творческое</a:t>
            </a:r>
            <a:r>
              <a:rPr lang="en-US" dirty="0"/>
              <a:t> </a:t>
            </a:r>
            <a:endParaRPr lang="ru-RU" dirty="0"/>
          </a:p>
          <a:p>
            <a:pPr marL="388620" lvl="1" indent="-194310">
              <a:lnSpc>
                <a:spcPts val="2520"/>
              </a:lnSpc>
              <a:buFont typeface="Arial" panose="020B0604020202020204"/>
              <a:buChar char="•"/>
            </a:pPr>
            <a:r>
              <a:rPr lang="en-US" dirty="0" err="1"/>
              <a:t>Социальное</a:t>
            </a:r>
            <a:r>
              <a:rPr lang="en-US" dirty="0"/>
              <a:t> </a:t>
            </a:r>
            <a:r>
              <a:rPr lang="ru-RU" dirty="0"/>
              <a:t>(улучшение жизни людей в обществе: экология, </a:t>
            </a:r>
            <a:r>
              <a:rPr lang="ru-RU" dirty="0" err="1"/>
              <a:t>волонтерство</a:t>
            </a:r>
            <a:r>
              <a:rPr lang="ru-RU" dirty="0"/>
              <a:t>, общественно-социальные движения и т.п. )</a:t>
            </a:r>
          </a:p>
          <a:p>
            <a:endParaRPr lang="ru-RU" sz="1100" dirty="0"/>
          </a:p>
          <a:p>
            <a:pPr marL="388620" lvl="1" indent="-194310">
              <a:lnSpc>
                <a:spcPts val="2520"/>
              </a:lnSpc>
              <a:buFont typeface="Arial" panose="020B0604020202020204"/>
              <a:buChar char="•"/>
            </a:pPr>
            <a:endParaRPr lang="en-US" dirty="0"/>
          </a:p>
          <a:p>
            <a:pPr>
              <a:lnSpc>
                <a:spcPts val="2520"/>
              </a:lnSpc>
            </a:pPr>
            <a:endParaRPr lang="en-US" dirty="0"/>
          </a:p>
        </p:txBody>
      </p:sp>
      <p:sp>
        <p:nvSpPr>
          <p:cNvPr id="6" name="AutoShape 6"/>
          <p:cNvSpPr/>
          <p:nvPr/>
        </p:nvSpPr>
        <p:spPr>
          <a:xfrm>
            <a:off x="7121887" y="1386192"/>
            <a:ext cx="6350" cy="2693985"/>
          </a:xfrm>
          <a:prstGeom prst="rect">
            <a:avLst/>
          </a:prstGeom>
          <a:solidFill>
            <a:srgbClr val="1B1B1B"/>
          </a:solidFill>
        </p:spPr>
      </p:sp>
      <p:grpSp>
        <p:nvGrpSpPr>
          <p:cNvPr id="7" name="Group 7"/>
          <p:cNvGrpSpPr/>
          <p:nvPr/>
        </p:nvGrpSpPr>
        <p:grpSpPr>
          <a:xfrm>
            <a:off x="7038695" y="1653612"/>
            <a:ext cx="193489" cy="193489"/>
            <a:chOff x="0" y="0"/>
            <a:chExt cx="6350000" cy="6350000"/>
          </a:xfrm>
        </p:grpSpPr>
        <p:sp>
          <p:nvSpPr>
            <p:cNvPr id="8" name="Freeform 8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4E65D9"/>
            </a:solidFill>
          </p:spPr>
        </p:sp>
      </p:grpSp>
      <p:grpSp>
        <p:nvGrpSpPr>
          <p:cNvPr id="9" name="Group 9"/>
          <p:cNvGrpSpPr/>
          <p:nvPr/>
        </p:nvGrpSpPr>
        <p:grpSpPr>
          <a:xfrm>
            <a:off x="7038695" y="3983432"/>
            <a:ext cx="193489" cy="193489"/>
            <a:chOff x="0" y="0"/>
            <a:chExt cx="6350000" cy="6350000"/>
          </a:xfrm>
        </p:grpSpPr>
        <p:sp>
          <p:nvSpPr>
            <p:cNvPr id="10" name="Freeform 10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4E65D9"/>
            </a:solidFill>
          </p:spPr>
        </p:sp>
      </p:grpSp>
      <p:sp>
        <p:nvSpPr>
          <p:cNvPr id="32" name="Прямоугольник 31"/>
          <p:cNvSpPr/>
          <p:nvPr/>
        </p:nvSpPr>
        <p:spPr>
          <a:xfrm>
            <a:off x="2020581" y="123629"/>
            <a:ext cx="10701644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tabLst>
                <a:tab pos="7416800" algn="l"/>
              </a:tabLst>
              <a:defRPr/>
            </a:pPr>
            <a:r>
              <a:rPr lang="ru-RU" sz="2400" b="1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Цифровой сервис «Лаборатория проектов»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7121887" y="1386191"/>
            <a:ext cx="6350" cy="2544864"/>
          </a:xfrm>
          <a:prstGeom prst="rect">
            <a:avLst/>
          </a:prstGeom>
          <a:solidFill>
            <a:srgbClr val="1B1B1B"/>
          </a:solidFill>
        </p:spPr>
      </p:sp>
      <p:grpSp>
        <p:nvGrpSpPr>
          <p:cNvPr id="5" name="Group 5"/>
          <p:cNvGrpSpPr/>
          <p:nvPr/>
        </p:nvGrpSpPr>
        <p:grpSpPr>
          <a:xfrm>
            <a:off x="7038695" y="1653612"/>
            <a:ext cx="193489" cy="193489"/>
            <a:chOff x="0" y="0"/>
            <a:chExt cx="6350000" cy="6350000"/>
          </a:xfrm>
        </p:grpSpPr>
        <p:sp>
          <p:nvSpPr>
            <p:cNvPr id="6" name="Freeform 6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4E65D9"/>
            </a:solidFill>
          </p:spPr>
        </p:sp>
      </p:grpSp>
      <p:sp>
        <p:nvSpPr>
          <p:cNvPr id="7" name="TextBox 7"/>
          <p:cNvSpPr txBox="1"/>
          <p:nvPr/>
        </p:nvSpPr>
        <p:spPr>
          <a:xfrm>
            <a:off x="508000" y="1156766"/>
            <a:ext cx="7280196" cy="4043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520"/>
              </a:lnSpc>
            </a:pPr>
            <a:r>
              <a:rPr lang="en-US" sz="2000" b="1" dirty="0" err="1">
                <a:solidFill>
                  <a:srgbClr val="2C4F8F"/>
                </a:solidFill>
                <a:latin typeface="Calibri" panose="020F0502020204030204" charset="0"/>
              </a:rPr>
              <a:t>Результаты</a:t>
            </a:r>
            <a:r>
              <a:rPr lang="en-US" sz="2000" b="1" dirty="0">
                <a:solidFill>
                  <a:srgbClr val="2C4F8F"/>
                </a:solidFill>
                <a:latin typeface="Calibri" panose="020F0502020204030204" charset="0"/>
              </a:rPr>
              <a:t> и </a:t>
            </a:r>
            <a:r>
              <a:rPr lang="en-US" sz="2000" b="1" dirty="0" err="1">
                <a:solidFill>
                  <a:srgbClr val="2C4F8F"/>
                </a:solidFill>
                <a:latin typeface="Calibri" panose="020F0502020204030204" charset="0"/>
              </a:rPr>
              <a:t>коммуникация</a:t>
            </a:r>
            <a:endParaRPr lang="en-US" sz="2000" b="1" dirty="0">
              <a:solidFill>
                <a:srgbClr val="2C4F8F"/>
              </a:solidFill>
              <a:latin typeface="Calibri" panose="020F0502020204030204" charset="0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7631540" y="1621863"/>
            <a:ext cx="3874661" cy="353943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30"/>
              </a:lnSpc>
            </a:pPr>
            <a:r>
              <a:rPr lang="en-US" dirty="0" err="1"/>
              <a:t>Возможность</a:t>
            </a:r>
            <a:r>
              <a:rPr lang="en-US" dirty="0"/>
              <a:t> </a:t>
            </a:r>
            <a:r>
              <a:rPr lang="en-US" dirty="0" err="1"/>
              <a:t>работы</a:t>
            </a:r>
            <a:r>
              <a:rPr lang="en-US" dirty="0"/>
              <a:t> </a:t>
            </a:r>
          </a:p>
          <a:p>
            <a:pPr marL="360045" lvl="1" indent="-179705">
              <a:lnSpc>
                <a:spcPts val="2330"/>
              </a:lnSpc>
              <a:buFont typeface="Arial" panose="020B0604020202020204"/>
              <a:buChar char="•"/>
            </a:pPr>
            <a:r>
              <a:rPr lang="en-US" dirty="0" err="1"/>
              <a:t>Индивидуально</a:t>
            </a:r>
            <a:r>
              <a:rPr lang="en-US" dirty="0"/>
              <a:t> </a:t>
            </a:r>
          </a:p>
          <a:p>
            <a:pPr marL="360045" lvl="1" indent="-179705">
              <a:lnSpc>
                <a:spcPts val="2330"/>
              </a:lnSpc>
              <a:buFont typeface="Arial" panose="020B0604020202020204"/>
              <a:buChar char="•"/>
            </a:pPr>
            <a:r>
              <a:rPr lang="en-US" dirty="0" err="1"/>
              <a:t>В</a:t>
            </a:r>
            <a:r>
              <a:rPr lang="en-US" dirty="0"/>
              <a:t> </a:t>
            </a:r>
            <a:r>
              <a:rPr lang="en-US" dirty="0" err="1"/>
              <a:t>команде</a:t>
            </a:r>
            <a:r>
              <a:rPr lang="en-US" dirty="0"/>
              <a:t> </a:t>
            </a:r>
          </a:p>
          <a:p>
            <a:pPr>
              <a:lnSpc>
                <a:spcPts val="2330"/>
              </a:lnSpc>
            </a:pPr>
            <a:endParaRPr lang="en-US" dirty="0"/>
          </a:p>
          <a:p>
            <a:pPr>
              <a:lnSpc>
                <a:spcPts val="2330"/>
              </a:lnSpc>
            </a:pPr>
            <a:r>
              <a:rPr lang="en-US" dirty="0" err="1"/>
              <a:t>Уровень</a:t>
            </a:r>
            <a:r>
              <a:rPr lang="en-US" dirty="0"/>
              <a:t> </a:t>
            </a:r>
            <a:r>
              <a:rPr lang="en-US" dirty="0" err="1"/>
              <a:t>сложности</a:t>
            </a:r>
            <a:r>
              <a:rPr lang="en-US" dirty="0"/>
              <a:t> </a:t>
            </a:r>
            <a:r>
              <a:rPr lang="en-US" dirty="0" err="1"/>
              <a:t>самого</a:t>
            </a:r>
            <a:r>
              <a:rPr lang="en-US" dirty="0"/>
              <a:t> </a:t>
            </a:r>
            <a:r>
              <a:rPr lang="en-US" dirty="0" err="1"/>
              <a:t>проекта</a:t>
            </a:r>
            <a:endParaRPr lang="en-US" dirty="0"/>
          </a:p>
          <a:p>
            <a:pPr>
              <a:lnSpc>
                <a:spcPts val="2330"/>
              </a:lnSpc>
            </a:pPr>
            <a:endParaRPr lang="en-US" dirty="0"/>
          </a:p>
          <a:p>
            <a:pPr marL="360045" lvl="1" indent="-179705">
              <a:lnSpc>
                <a:spcPts val="2330"/>
              </a:lnSpc>
              <a:buFont typeface="Arial" panose="020B0604020202020204"/>
              <a:buChar char="•"/>
            </a:pPr>
            <a:r>
              <a:rPr lang="en-US" dirty="0" err="1"/>
              <a:t>Выполнение</a:t>
            </a:r>
            <a:r>
              <a:rPr lang="en-US" dirty="0"/>
              <a:t> </a:t>
            </a:r>
            <a:r>
              <a:rPr lang="en-US" dirty="0" err="1"/>
              <a:t>готового</a:t>
            </a:r>
            <a:r>
              <a:rPr lang="en-US" dirty="0"/>
              <a:t> </a:t>
            </a:r>
            <a:r>
              <a:rPr lang="en-US" dirty="0" err="1"/>
              <a:t>проекта</a:t>
            </a:r>
            <a:endParaRPr lang="en-US" dirty="0"/>
          </a:p>
          <a:p>
            <a:pPr marL="360045" lvl="1" indent="-179705">
              <a:lnSpc>
                <a:spcPts val="2330"/>
              </a:lnSpc>
              <a:buFont typeface="Arial" panose="020B0604020202020204"/>
              <a:buChar char="•"/>
            </a:pPr>
            <a:r>
              <a:rPr lang="en-US" dirty="0" err="1"/>
              <a:t>Работа</a:t>
            </a:r>
            <a:r>
              <a:rPr lang="en-US" dirty="0"/>
              <a:t> </a:t>
            </a:r>
            <a:r>
              <a:rPr lang="en-US" dirty="0" err="1"/>
              <a:t>в</a:t>
            </a:r>
            <a:r>
              <a:rPr lang="en-US" dirty="0"/>
              <a:t> </a:t>
            </a:r>
            <a:r>
              <a:rPr lang="en-US" dirty="0" err="1"/>
              <a:t>шаблоне</a:t>
            </a:r>
            <a:r>
              <a:rPr lang="en-US" dirty="0"/>
              <a:t> </a:t>
            </a:r>
          </a:p>
          <a:p>
            <a:pPr marL="360045" lvl="1" indent="-179705">
              <a:lnSpc>
                <a:spcPts val="2330"/>
              </a:lnSpc>
              <a:buFont typeface="Arial" panose="020B0604020202020204"/>
              <a:buChar char="•"/>
            </a:pPr>
            <a:r>
              <a:rPr lang="en-US" dirty="0" err="1"/>
              <a:t>Тема</a:t>
            </a:r>
            <a:r>
              <a:rPr lang="en-US" dirty="0"/>
              <a:t> </a:t>
            </a:r>
            <a:r>
              <a:rPr lang="en-US" dirty="0" err="1"/>
              <a:t>проекта</a:t>
            </a:r>
            <a:endParaRPr lang="en-US" dirty="0"/>
          </a:p>
          <a:p>
            <a:pPr marL="360045" lvl="1" indent="-179705">
              <a:lnSpc>
                <a:spcPts val="2330"/>
              </a:lnSpc>
              <a:buFont typeface="Arial" panose="020B0604020202020204"/>
              <a:buChar char="•"/>
            </a:pPr>
            <a:r>
              <a:rPr lang="en-US" dirty="0" err="1"/>
              <a:t>Полная</a:t>
            </a:r>
            <a:r>
              <a:rPr lang="en-US" dirty="0"/>
              <a:t> </a:t>
            </a:r>
            <a:r>
              <a:rPr lang="en-US" dirty="0" err="1"/>
              <a:t>самостоятельность</a:t>
            </a:r>
            <a:r>
              <a:rPr lang="en-US" dirty="0"/>
              <a:t> (</a:t>
            </a:r>
            <a:r>
              <a:rPr lang="en-US" dirty="0" err="1"/>
              <a:t>работа</a:t>
            </a:r>
            <a:r>
              <a:rPr lang="en-US" dirty="0"/>
              <a:t> </a:t>
            </a:r>
            <a:r>
              <a:rPr lang="en-US" dirty="0" err="1"/>
              <a:t>в</a:t>
            </a:r>
            <a:r>
              <a:rPr lang="en-US" dirty="0"/>
              <a:t> </a:t>
            </a:r>
            <a:r>
              <a:rPr lang="en-US" dirty="0" err="1"/>
              <a:t>конструкторе</a:t>
            </a:r>
            <a:r>
              <a:rPr lang="en-US" dirty="0"/>
              <a:t>)</a:t>
            </a:r>
          </a:p>
          <a:p>
            <a:pPr>
              <a:lnSpc>
                <a:spcPts val="2330"/>
              </a:lnSpc>
            </a:pPr>
            <a:endParaRPr lang="en-US" dirty="0"/>
          </a:p>
        </p:txBody>
      </p:sp>
      <p:grpSp>
        <p:nvGrpSpPr>
          <p:cNvPr id="9" name="Group 9"/>
          <p:cNvGrpSpPr/>
          <p:nvPr/>
        </p:nvGrpSpPr>
        <p:grpSpPr>
          <a:xfrm>
            <a:off x="7010400" y="2845332"/>
            <a:ext cx="193489" cy="193489"/>
            <a:chOff x="0" y="0"/>
            <a:chExt cx="6350000" cy="6350000"/>
          </a:xfrm>
        </p:grpSpPr>
        <p:sp>
          <p:nvSpPr>
            <p:cNvPr id="10" name="Freeform 10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4E65D9"/>
            </a:solidFill>
          </p:spPr>
        </p:sp>
      </p:grpSp>
      <p:pic>
        <p:nvPicPr>
          <p:cNvPr id="13" name="Рисунок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2490" y="1706324"/>
            <a:ext cx="6326094" cy="4211876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3"/>
          <a:srcRect l="6807" t="16897" r="23829" b="17797"/>
          <a:stretch>
            <a:fillRect/>
          </a:stretch>
        </p:blipFill>
        <p:spPr>
          <a:xfrm>
            <a:off x="4673693" y="1696941"/>
            <a:ext cx="1524001" cy="812801"/>
          </a:xfrm>
          <a:prstGeom prst="rect">
            <a:avLst/>
          </a:prstGeom>
        </p:spPr>
      </p:pic>
      <p:sp>
        <p:nvSpPr>
          <p:cNvPr id="17" name="TextBox 33"/>
          <p:cNvSpPr txBox="1"/>
          <p:nvPr/>
        </p:nvSpPr>
        <p:spPr>
          <a:xfrm>
            <a:off x="219484" y="6321429"/>
            <a:ext cx="3031716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495"/>
              </a:lnSpc>
              <a:spcBef>
                <a:spcPct val="0"/>
              </a:spcBef>
            </a:pPr>
            <a:endParaRPr dirty="0"/>
          </a:p>
          <a:p>
            <a:pPr algn="ctr">
              <a:lnSpc>
                <a:spcPts val="1495"/>
              </a:lnSpc>
              <a:spcBef>
                <a:spcPct val="0"/>
              </a:spcBef>
            </a:pPr>
            <a:r>
              <a:rPr lang="en-US" sz="1100" dirty="0">
                <a:solidFill>
                  <a:srgbClr val="000000"/>
                </a:solidFill>
                <a:latin typeface="Calibri" panose="020F0502020204030204" charset="0"/>
              </a:rPr>
              <a:t>© АО «</a:t>
            </a:r>
            <a:r>
              <a:rPr lang="en-US" sz="1100" dirty="0" err="1">
                <a:solidFill>
                  <a:srgbClr val="000000"/>
                </a:solidFill>
                <a:latin typeface="Calibri" panose="020F0502020204030204" charset="0"/>
              </a:rPr>
              <a:t>Издательство</a:t>
            </a:r>
            <a:r>
              <a:rPr lang="en-US" sz="1100" dirty="0">
                <a:solidFill>
                  <a:srgbClr val="000000"/>
                </a:solidFill>
                <a:latin typeface="Calibri" panose="020F0502020204030204" charset="0"/>
              </a:rPr>
              <a:t> «</a:t>
            </a:r>
            <a:r>
              <a:rPr lang="en-US" sz="1100" dirty="0" err="1">
                <a:solidFill>
                  <a:srgbClr val="000000"/>
                </a:solidFill>
                <a:latin typeface="Calibri" panose="020F0502020204030204" charset="0"/>
              </a:rPr>
              <a:t>Просвещение</a:t>
            </a:r>
            <a:r>
              <a:rPr lang="en-US" sz="1100" dirty="0">
                <a:solidFill>
                  <a:srgbClr val="000000"/>
                </a:solidFill>
                <a:latin typeface="Calibri" panose="020F0502020204030204" charset="0"/>
              </a:rPr>
              <a:t>», 202</a:t>
            </a:r>
            <a:r>
              <a:rPr lang="ru-RU" sz="1100" dirty="0">
                <a:solidFill>
                  <a:srgbClr val="000000"/>
                </a:solidFill>
                <a:latin typeface="Calibri" panose="020F0502020204030204" charset="0"/>
              </a:rPr>
              <a:t>2</a:t>
            </a:r>
            <a:endParaRPr lang="en-US" sz="1100" dirty="0">
              <a:solidFill>
                <a:srgbClr val="000000"/>
              </a:solidFill>
              <a:latin typeface="Calibri" panose="020F050202020403020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945651" y="177604"/>
            <a:ext cx="10701644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tabLst>
                <a:tab pos="7416800" algn="l"/>
              </a:tabLst>
              <a:defRPr/>
            </a:pPr>
            <a:r>
              <a:rPr lang="ru-RU" sz="2400" b="1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Цифровой сервис «Лаборатория проектов»</a:t>
            </a: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795069" y="1959904"/>
            <a:ext cx="10634931" cy="1169759"/>
            <a:chOff x="1192603" y="2782390"/>
            <a:chExt cx="15952397" cy="1754639"/>
          </a:xfrm>
        </p:grpSpPr>
        <p:sp>
          <p:nvSpPr>
            <p:cNvPr id="11" name="Скругленный прямоугольник 10"/>
            <p:cNvSpPr/>
            <p:nvPr/>
          </p:nvSpPr>
          <p:spPr>
            <a:xfrm>
              <a:off x="2945202" y="2784430"/>
              <a:ext cx="14199798" cy="1752599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Скругленный прямоугольник 29"/>
            <p:cNvSpPr/>
            <p:nvPr/>
          </p:nvSpPr>
          <p:spPr>
            <a:xfrm>
              <a:off x="1192603" y="2782390"/>
              <a:ext cx="3455597" cy="1752599"/>
            </a:xfrm>
            <a:prstGeom prst="roundRect">
              <a:avLst>
                <a:gd name="adj" fmla="val 50000"/>
              </a:avLst>
            </a:prstGeom>
            <a:solidFill>
              <a:srgbClr val="7D98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900" dirty="0">
                  <a:ea typeface="Lato Bold" panose="020B0604020202020204" charset="0"/>
                  <a:cs typeface="Lato Bold" panose="020B0604020202020204" charset="0"/>
                </a:rPr>
                <a:t>Администрация школы</a:t>
              </a: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795069" y="3455772"/>
            <a:ext cx="10634931" cy="1169759"/>
            <a:chOff x="1192603" y="4616507"/>
            <a:chExt cx="15952397" cy="1754639"/>
          </a:xfrm>
        </p:grpSpPr>
        <p:sp>
          <p:nvSpPr>
            <p:cNvPr id="31" name="Скругленный прямоугольник 30"/>
            <p:cNvSpPr/>
            <p:nvPr/>
          </p:nvSpPr>
          <p:spPr>
            <a:xfrm>
              <a:off x="2945202" y="4618547"/>
              <a:ext cx="14199798" cy="1752599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Скругленный прямоугольник 31"/>
            <p:cNvSpPr/>
            <p:nvPr/>
          </p:nvSpPr>
          <p:spPr>
            <a:xfrm>
              <a:off x="1192603" y="4616507"/>
              <a:ext cx="3455597" cy="1752599"/>
            </a:xfrm>
            <a:prstGeom prst="roundRect">
              <a:avLst>
                <a:gd name="adj" fmla="val 50000"/>
              </a:avLst>
            </a:prstGeom>
            <a:solidFill>
              <a:srgbClr val="7AB2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900" dirty="0">
                  <a:ea typeface="Lato Bold" panose="020B0604020202020204" charset="0"/>
                  <a:cs typeface="Lato Bold" panose="020B0604020202020204" charset="0"/>
                </a:rPr>
                <a:t>Учитель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781523" y="4951641"/>
            <a:ext cx="10634931" cy="1169759"/>
            <a:chOff x="1172283" y="6830154"/>
            <a:chExt cx="15952397" cy="1754639"/>
          </a:xfrm>
        </p:grpSpPr>
        <p:sp>
          <p:nvSpPr>
            <p:cNvPr id="33" name="Скругленный прямоугольник 32"/>
            <p:cNvSpPr/>
            <p:nvPr/>
          </p:nvSpPr>
          <p:spPr>
            <a:xfrm>
              <a:off x="2924882" y="6832194"/>
              <a:ext cx="14199798" cy="1752599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Скругленный прямоугольник 33"/>
            <p:cNvSpPr/>
            <p:nvPr/>
          </p:nvSpPr>
          <p:spPr>
            <a:xfrm>
              <a:off x="1172283" y="6830154"/>
              <a:ext cx="3455597" cy="1752599"/>
            </a:xfrm>
            <a:prstGeom prst="roundRect">
              <a:avLst>
                <a:gd name="adj" fmla="val 50000"/>
              </a:avLst>
            </a:prstGeom>
            <a:solidFill>
              <a:srgbClr val="835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900" dirty="0">
                  <a:ea typeface="Lato Bold" panose="020B0604020202020204" charset="0"/>
                  <a:cs typeface="Lato Bold" panose="020B0604020202020204" charset="0"/>
                </a:rPr>
                <a:t>Ученик</a:t>
              </a:r>
            </a:p>
          </p:txBody>
        </p:sp>
      </p:grpSp>
      <p:sp>
        <p:nvSpPr>
          <p:cNvPr id="26" name="Прямоугольник 25"/>
          <p:cNvSpPr/>
          <p:nvPr/>
        </p:nvSpPr>
        <p:spPr>
          <a:xfrm>
            <a:off x="3251200" y="2073101"/>
            <a:ext cx="7859889" cy="1046440"/>
          </a:xfrm>
          <a:prstGeom prst="rect">
            <a:avLst/>
          </a:prstGeom>
        </p:spPr>
        <p:txBody>
          <a:bodyPr wrap="square" lIns="60954" tIns="30477" rIns="60954" bIns="30477">
            <a:spAutoFit/>
          </a:bodyPr>
          <a:lstStyle/>
          <a:p>
            <a:r>
              <a:rPr lang="en-US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Приведение</a:t>
            </a:r>
            <a:r>
              <a:rPr lang="en-US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к </a:t>
            </a:r>
            <a:r>
              <a:rPr lang="en-US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стандарту</a:t>
            </a:r>
            <a:r>
              <a:rPr lang="en-US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разного</a:t>
            </a:r>
            <a:r>
              <a:rPr lang="en-US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уровня</a:t>
            </a:r>
            <a:r>
              <a:rPr lang="en-US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проектных</a:t>
            </a:r>
            <a:r>
              <a:rPr lang="en-US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компетенций</a:t>
            </a:r>
            <a:r>
              <a:rPr lang="en-US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у </a:t>
            </a:r>
            <a:r>
              <a:rPr lang="en-US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сотрудников</a:t>
            </a:r>
            <a:r>
              <a:rPr lang="en-US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образовательной</a:t>
            </a:r>
            <a:r>
              <a:rPr lang="en-US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организации</a:t>
            </a:r>
            <a:r>
              <a:rPr lang="ru-RU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.</a:t>
            </a:r>
          </a:p>
          <a:p>
            <a:r>
              <a:rPr lang="en-US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Повышение</a:t>
            </a:r>
            <a:r>
              <a:rPr lang="en-US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ru-RU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образовательны</a:t>
            </a:r>
            <a:r>
              <a:rPr lang="en-US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х</a:t>
            </a:r>
            <a:r>
              <a:rPr lang="ru-RU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результат</a:t>
            </a:r>
            <a:r>
              <a:rPr lang="en-US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ов</a:t>
            </a:r>
            <a:r>
              <a:rPr lang="ru-RU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и </a:t>
            </a:r>
            <a:r>
              <a:rPr lang="en-US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достижений</a:t>
            </a:r>
            <a:r>
              <a:rPr lang="en-US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при</a:t>
            </a:r>
            <a:r>
              <a:rPr lang="en-US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реализации</a:t>
            </a:r>
            <a:r>
              <a:rPr lang="en-US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проектной</a:t>
            </a:r>
            <a:r>
              <a:rPr lang="en-US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и </a:t>
            </a:r>
            <a:r>
              <a:rPr lang="en-US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исследовательской</a:t>
            </a:r>
            <a:r>
              <a:rPr lang="en-US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деятельности</a:t>
            </a:r>
            <a:endParaRPr lang="ru-RU" sz="1600" dirty="0">
              <a:solidFill>
                <a:srgbClr val="000000"/>
              </a:solidFill>
              <a:ea typeface="Lato" panose="020B0604020202020204" charset="0"/>
              <a:cs typeface="Lato" panose="020B060402020202020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251200" y="3495448"/>
            <a:ext cx="7859889" cy="1046440"/>
          </a:xfrm>
          <a:prstGeom prst="rect">
            <a:avLst/>
          </a:prstGeom>
        </p:spPr>
        <p:txBody>
          <a:bodyPr wrap="square" lIns="60954" tIns="30477" rIns="60954" bIns="30477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Большие временные и ресурсные затраты на организацию проектной деятельности в классе на основе экспертных материалов. Невысокие проектные компетенции учащихся. Сложно мотивировать на изучение предмета </a:t>
            </a:r>
            <a:br>
              <a:rPr lang="ru-RU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</a:br>
            <a:r>
              <a:rPr lang="ru-RU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и </a:t>
            </a:r>
            <a:r>
              <a:rPr lang="ru-RU" sz="1600" dirty="0" err="1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профориентационное</a:t>
            </a:r>
            <a:r>
              <a:rPr lang="ru-RU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 погружение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247813" y="5259109"/>
            <a:ext cx="8029787" cy="553998"/>
          </a:xfrm>
          <a:prstGeom prst="rect">
            <a:avLst/>
          </a:prstGeom>
        </p:spPr>
        <p:txBody>
          <a:bodyPr wrap="square" lIns="60954" tIns="30477" rIns="60954" bIns="30477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Необходимы идеи, примеры и алгоритмы для обучения проектной деятельности.</a:t>
            </a:r>
          </a:p>
          <a:p>
            <a:r>
              <a:rPr lang="ru-RU" sz="1600" dirty="0">
                <a:solidFill>
                  <a:srgbClr val="000000"/>
                </a:solidFill>
                <a:ea typeface="Lato" panose="020B0604020202020204" charset="0"/>
                <a:cs typeface="Lato" panose="020B0604020202020204" charset="0"/>
              </a:rPr>
              <a:t>Отсутствие навыков тайм-менеджмента</a:t>
            </a:r>
          </a:p>
        </p:txBody>
      </p:sp>
      <p:sp>
        <p:nvSpPr>
          <p:cNvPr id="18" name="TextBox 8"/>
          <p:cNvSpPr txBox="1"/>
          <p:nvPr/>
        </p:nvSpPr>
        <p:spPr>
          <a:xfrm>
            <a:off x="0" y="1225489"/>
            <a:ext cx="10109200" cy="4648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4160"/>
              </a:lnSpc>
              <a:spcBef>
                <a:spcPct val="0"/>
              </a:spcBef>
            </a:pPr>
            <a:r>
              <a:rPr lang="ru-RU" b="1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Актуальные вызовы при организации проектной деятельности</a:t>
            </a:r>
            <a:endParaRPr lang="en-US" b="1" dirty="0">
              <a:solidFill>
                <a:srgbClr val="233C78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963431" y="187764"/>
            <a:ext cx="10701644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tabLst>
                <a:tab pos="7416800" algn="l"/>
              </a:tabLst>
              <a:defRPr/>
            </a:pPr>
            <a:r>
              <a:rPr lang="ru-RU" sz="2400" b="1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Цифровой сервис «Лаборатория проектов»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35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78721" y="6560531"/>
            <a:ext cx="2876146" cy="153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75" b="10875"/>
          <a:stretch>
            <a:fillRect/>
          </a:stretch>
        </p:blipFill>
        <p:spPr>
          <a:xfrm>
            <a:off x="393076" y="1091694"/>
            <a:ext cx="6337070" cy="4958737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6025713" y="1504110"/>
            <a:ext cx="5864881" cy="10297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40180" lvl="8" defTabSz="457200"/>
            <a:r>
              <a:rPr lang="ru-RU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Бесплатный доступ к электронным формам учебников и сервису «Учим стихи» для школ, педагогов и учащихся </a:t>
            </a:r>
            <a:br>
              <a:rPr lang="ru-RU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</a:br>
            <a:r>
              <a:rPr lang="ru-RU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на платформе </a:t>
            </a:r>
            <a:r>
              <a:rPr lang="en-US" b="1" dirty="0">
                <a:solidFill>
                  <a:srgbClr val="233C78"/>
                </a:solidFill>
                <a:ea typeface="Yu Gothic UI Light" panose="020B0300000000000000" pitchFamily="34" charset="-128"/>
                <a:hlinkClick r:id="rId5"/>
              </a:rPr>
              <a:t>https://educont.ru/</a:t>
            </a:r>
            <a:r>
              <a:rPr lang="ru-RU" b="1" dirty="0">
                <a:solidFill>
                  <a:srgbClr val="233C78"/>
                </a:solidFill>
                <a:ea typeface="Yu Gothic UI Light" panose="020B0300000000000000" pitchFamily="34" charset="-128"/>
              </a:rPr>
              <a:t> </a:t>
            </a:r>
            <a:endParaRPr lang="en-US" b="1" dirty="0">
              <a:solidFill>
                <a:srgbClr val="233C78"/>
              </a:solidFill>
              <a:ea typeface="Yu Gothic UI Light" panose="020B0300000000000000" pitchFamily="34" charset="-128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441168" y="4951642"/>
            <a:ext cx="23612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>
              <a:buSzPct val="100000"/>
              <a:defRPr/>
            </a:pPr>
            <a:r>
              <a:rPr lang="ru-RU" sz="1400" b="1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Больше информации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138897" y="5228641"/>
            <a:ext cx="460500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ru-RU" sz="1400" dirty="0">
                <a:ea typeface="Open Sans Condensed" pitchFamily="34" charset="0"/>
                <a:cs typeface="Open Sans Condensed" pitchFamily="34" charset="0"/>
              </a:rPr>
              <a:t>Компоненты ЦОК — ЭФУ для уровня начального, основного и среднего общего образования, включенные в действующий ФПУ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903741" y="71559"/>
            <a:ext cx="10701644" cy="722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tabLst>
                <a:tab pos="7416800" algn="l"/>
              </a:tabLst>
              <a:defRPr/>
            </a:pPr>
            <a:r>
              <a:rPr lang="ru-RU" sz="2400" b="1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Национальная программа «Цифровая экономика»</a:t>
            </a:r>
          </a:p>
          <a:p>
            <a:pPr>
              <a:lnSpc>
                <a:spcPct val="85000"/>
              </a:lnSpc>
              <a:tabLst>
                <a:tab pos="7416800" algn="l"/>
              </a:tabLst>
              <a:defRPr/>
            </a:pPr>
            <a:r>
              <a:rPr lang="ru-RU" sz="2400" b="1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ФП «Кадры для цифровой экономики» 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7182196" y="3625732"/>
            <a:ext cx="4708398" cy="2218373"/>
          </a:xfrm>
          <a:prstGeom prst="roundRect">
            <a:avLst>
              <a:gd name="adj" fmla="val 17564"/>
            </a:avLst>
          </a:prstGeom>
          <a:noFill/>
          <a:ln w="19050">
            <a:solidFill>
              <a:srgbClr val="23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6" name="Прямоугольник 35"/>
          <p:cNvSpPr/>
          <p:nvPr/>
        </p:nvSpPr>
        <p:spPr>
          <a:xfrm>
            <a:off x="9713275" y="5259419"/>
            <a:ext cx="18145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>
                <a:solidFill>
                  <a:srgbClr val="233C78"/>
                </a:solidFill>
              </a:rPr>
              <a:t>https://</a:t>
            </a:r>
            <a:r>
              <a:rPr lang="en-GB" sz="1600" dirty="0" err="1">
                <a:solidFill>
                  <a:srgbClr val="233C78"/>
                </a:solidFill>
              </a:rPr>
              <a:t>educont.ru</a:t>
            </a:r>
            <a:r>
              <a:rPr lang="en-GB" sz="1600" dirty="0">
                <a:solidFill>
                  <a:srgbClr val="233C78"/>
                </a:solidFill>
              </a:rPr>
              <a:t>/</a:t>
            </a:r>
            <a:endParaRPr lang="ru-RU" sz="1600" dirty="0">
              <a:solidFill>
                <a:srgbClr val="233C78"/>
              </a:solidFill>
            </a:endParaRP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3126" y="1718401"/>
            <a:ext cx="4494116" cy="2010281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98970" y="3923506"/>
            <a:ext cx="1699310" cy="1684272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6033820" y="2694035"/>
            <a:ext cx="5060900" cy="738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0180" lvl="8" defTabSz="457200"/>
            <a:r>
              <a:rPr lang="ru-RU" sz="1400" b="1" dirty="0">
                <a:solidFill>
                  <a:srgbClr val="233C78"/>
                </a:solidFill>
              </a:rPr>
              <a:t>177 цифровых образовательных комплекта «Просвещения» по различным предметам с 1 по</a:t>
            </a:r>
            <a:r>
              <a:rPr lang="en-US" sz="1400" b="1" dirty="0">
                <a:solidFill>
                  <a:srgbClr val="233C78"/>
                </a:solidFill>
              </a:rPr>
              <a:t> 11</a:t>
            </a:r>
            <a:r>
              <a:rPr lang="ru-RU" sz="1400" b="1" dirty="0">
                <a:solidFill>
                  <a:srgbClr val="233C78"/>
                </a:solidFill>
              </a:rPr>
              <a:t> классы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313126" y="3728682"/>
            <a:ext cx="4494116" cy="673385"/>
          </a:xfrm>
          <a:prstGeom prst="rect">
            <a:avLst/>
          </a:prstGeom>
          <a:solidFill>
            <a:srgbClr val="F7F9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+mn-cs"/>
              </a:rPr>
              <a:t>36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2035604" y="1913694"/>
            <a:ext cx="8232146" cy="17881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4480" lvl="0" indent="-284480">
              <a:lnSpc>
                <a:spcPct val="85000"/>
              </a:lnSpc>
              <a:spcBef>
                <a:spcPts val="6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Авторы – профессиональные генетики-педагоги, которые занимаются разными направлениями генетической науки</a:t>
            </a:r>
          </a:p>
          <a:p>
            <a:pPr marL="284480" lvl="0" indent="-284480">
              <a:lnSpc>
                <a:spcPct val="85000"/>
              </a:lnSpc>
              <a:spcBef>
                <a:spcPts val="6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Что такое проектирование и чем оно отличается от других типов деятельности, рассмотрены разные этапы проектирования</a:t>
            </a:r>
          </a:p>
          <a:p>
            <a:pPr marL="284480" lvl="0" indent="-284480">
              <a:lnSpc>
                <a:spcPct val="85000"/>
              </a:lnSpc>
              <a:spcBef>
                <a:spcPts val="6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Ориентировано на практическую деятельность через интеллектуальные исследования, виртуальные лабораторные работы и реальный практикум со специализированным оборудованием</a:t>
            </a:r>
          </a:p>
          <a:p>
            <a:pPr marL="284480" lvl="0" indent="-284480">
              <a:lnSpc>
                <a:spcPct val="85000"/>
              </a:lnSpc>
              <a:spcBef>
                <a:spcPts val="6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Содержит задачи по генетике, аналогичные заданиям на ЕГЭ и на школьных биологических олимпиадах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192655" y="1108710"/>
            <a:ext cx="9474835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2D2B8D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«Практическая молекулярная генетика для начинающих. 8—9 классы»</a:t>
            </a:r>
          </a:p>
          <a:p>
            <a:r>
              <a:rPr lang="ru-RU" sz="2000" b="1" dirty="0">
                <a:solidFill>
                  <a:srgbClr val="2D2B8D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под ред. Бородина  П.М., Ворониной Е.Н. </a:t>
            </a:r>
          </a:p>
          <a:p>
            <a:endParaRPr lang="ru-RU" sz="2000" b="1" dirty="0">
              <a:solidFill>
                <a:srgbClr val="2D2B8D"/>
              </a:solidFill>
              <a:latin typeface="Calibri" panose="020F0502020204030204" charset="0"/>
              <a:ea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117090" y="4074795"/>
            <a:ext cx="9993630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2D2B8D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«Генетика. 10—11 классы» Кузьмин И.В., </a:t>
            </a:r>
            <a:r>
              <a:rPr lang="ru-RU" sz="2000" b="1" dirty="0" err="1">
                <a:solidFill>
                  <a:srgbClr val="2D2B8D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Лавренов</a:t>
            </a:r>
            <a:r>
              <a:rPr lang="ru-RU" sz="2000" b="1" dirty="0">
                <a:solidFill>
                  <a:srgbClr val="2D2B8D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 А.Р., Кукушкина И.В., Мустафин А.Г. и др. </a:t>
            </a:r>
          </a:p>
          <a:p>
            <a:endParaRPr lang="ru-RU" sz="2000" b="1" dirty="0">
              <a:solidFill>
                <a:srgbClr val="2D2B8D"/>
              </a:solidFill>
              <a:latin typeface="Calibri" panose="020F0502020204030204" charset="0"/>
              <a:ea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117199" y="4797305"/>
            <a:ext cx="8349143" cy="134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4480" lvl="0" indent="-284480">
              <a:lnSpc>
                <a:spcPct val="85000"/>
              </a:lnSpc>
              <a:spcBef>
                <a:spcPts val="6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редставлены материалы по классической и современной генетике, основные достижения и перспективы развития науки</a:t>
            </a:r>
          </a:p>
          <a:p>
            <a:pPr marL="284480" lvl="0" indent="-284480">
              <a:lnSpc>
                <a:spcPct val="85000"/>
              </a:lnSpc>
              <a:spcBef>
                <a:spcPts val="6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Детально разобраны методы молекулярной генетики и генной инженерии, технологии секвенирования нового поколения</a:t>
            </a:r>
          </a:p>
          <a:p>
            <a:pPr marL="284480" lvl="0" indent="-284480">
              <a:lnSpc>
                <a:spcPct val="85000"/>
              </a:lnSpc>
              <a:spcBef>
                <a:spcPts val="6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одробные алгоритмы решения всех видов задач по генетике завершают соответствующие разделы курса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619"/>
          <a:stretch>
            <a:fillRect/>
          </a:stretch>
        </p:blipFill>
        <p:spPr>
          <a:xfrm>
            <a:off x="350811" y="4074640"/>
            <a:ext cx="1530179" cy="2108453"/>
          </a:xfrm>
          <a:prstGeom prst="rect">
            <a:avLst/>
          </a:prstGeom>
          <a:ln>
            <a:noFill/>
          </a:ln>
          <a:effectLst>
            <a:outerShdw blurRad="241300" dist="38100" dir="2700000" algn="ctr" rotWithShape="0">
              <a:srgbClr val="000000">
                <a:alpha val="23000"/>
              </a:srgbClr>
            </a:outerShdw>
          </a:effec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852" y="1264182"/>
            <a:ext cx="1530179" cy="2108453"/>
          </a:xfrm>
          <a:prstGeom prst="rect">
            <a:avLst/>
          </a:prstGeom>
          <a:ln>
            <a:noFill/>
          </a:ln>
          <a:effectLst>
            <a:outerShdw blurRad="241300" dist="38100" dir="2700000" algn="ctr" rotWithShape="0">
              <a:srgbClr val="000000">
                <a:alpha val="23000"/>
              </a:srgbClr>
            </a:outerShdw>
          </a:effectLst>
        </p:spPr>
      </p:pic>
      <p:grpSp>
        <p:nvGrpSpPr>
          <p:cNvPr id="15" name="Группа 1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7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8"/>
            <p:cNvSpPr/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40" name="Прямая соединительная линия 3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1913542" y="151382"/>
            <a:ext cx="8322860" cy="4781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ru-RU" sz="2800" b="1" dirty="0">
                <a:solidFill>
                  <a:srgbClr val="2D2B8D"/>
                </a:solidFill>
                <a:ea typeface="Calibri" panose="020F0502020204030204" charset="0"/>
                <a:cs typeface="Calibri" panose="020F0502020204030204" charset="0"/>
              </a:rPr>
              <a:t>Обновление содержания образования  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pic>
        <p:nvPicPr>
          <p:cNvPr id="5" name="Рисунок 1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81800"/>
            <a:ext cx="12189460" cy="100965"/>
          </a:xfrm>
          <a:prstGeom prst="rect">
            <a:avLst/>
          </a:prstGeom>
        </p:spPr>
      </p:pic>
      <p:sp>
        <p:nvSpPr>
          <p:cNvPr id="7" name="Номер слайда 2"/>
          <p:cNvSpPr>
            <a:spLocks noGrp="1"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36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+mn-cs"/>
              </a:rPr>
              <a:t>37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Группа 1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7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8"/>
            <p:cNvSpPr/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40" name="Прямая соединительная линия 3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1913542" y="151382"/>
            <a:ext cx="8322860" cy="4781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2800" b="1" dirty="0">
                <a:solidFill>
                  <a:srgbClr val="2D2B8D"/>
                </a:solidFill>
                <a:ea typeface="Calibri" panose="020F0502020204030204" charset="0"/>
                <a:cs typeface="Calibri" panose="020F0502020204030204" charset="0"/>
              </a:rPr>
              <a:t>Скачать презентацию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pic>
        <p:nvPicPr>
          <p:cNvPr id="5" name="Рисунок 1"/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15455"/>
            <a:ext cx="12189460" cy="100330"/>
          </a:xfrm>
          <a:prstGeom prst="rect">
            <a:avLst/>
          </a:prstGeom>
        </p:spPr>
      </p:pic>
      <p:sp>
        <p:nvSpPr>
          <p:cNvPr id="7" name="Номер слайда 2"/>
          <p:cNvSpPr>
            <a:spLocks noGrp="1"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37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00" name="Изображение 99"/>
          <p:cNvPicPr/>
          <p:nvPr/>
        </p:nvPicPr>
        <p:blipFill>
          <a:blip r:embed="rId4"/>
          <a:stretch>
            <a:fillRect/>
          </a:stretch>
        </p:blipFill>
        <p:spPr>
          <a:xfrm>
            <a:off x="6096000" y="3429000"/>
            <a:ext cx="0" cy="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1" name="Замещающее содержимое 100"/>
          <p:cNvPicPr>
            <a:picLocks noGrp="1" noChangeAspect="1"/>
          </p:cNvPicPr>
          <p:nvPr>
            <p:ph sz="half" idx="2"/>
          </p:nvPr>
        </p:nvPicPr>
        <p:blipFill>
          <a:blip r:embed="rId4"/>
          <a:stretch>
            <a:fillRect/>
          </a:stretch>
        </p:blipFill>
        <p:spPr>
          <a:xfrm>
            <a:off x="3743325" y="1261745"/>
            <a:ext cx="3899535" cy="389953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9525" imgH="9525" progId="TCLayout.ActiveDocument.1">
                  <p:embed/>
                </p:oleObj>
              </mc:Choice>
              <mc:Fallback>
                <p:oleObj name="Слайд think-cell" r:id="rId5" imgW="9525" imgH="9525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5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79425" y="6032605"/>
            <a:ext cx="11269663" cy="4324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5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</a:t>
            </a:r>
            <a:br>
              <a:rPr lang="ru-RU" sz="935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935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Интернете и в корпоративных сетях, а также запись в память ЭВМ,  для частного или публичного использования, без письменного разрешения владельца авторских прав. </a:t>
            </a:r>
            <a:br>
              <a:rPr lang="ru-RU" sz="935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935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«Просвещение», 20</a:t>
            </a:r>
            <a:r>
              <a:rPr lang="en-US" sz="935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lang="ru-RU" sz="935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г.</a:t>
            </a:r>
          </a:p>
        </p:txBody>
      </p:sp>
      <p:sp>
        <p:nvSpPr>
          <p:cNvPr id="94" name="Подзаголовок 2"/>
          <p:cNvSpPr txBox="1"/>
          <p:nvPr/>
        </p:nvSpPr>
        <p:spPr>
          <a:xfrm>
            <a:off x="1666385" y="4972602"/>
            <a:ext cx="5249442" cy="12915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400" b="1" spc="-40" dirty="0">
                <a:solidFill>
                  <a:schemeClr val="bg1"/>
                </a:solidFill>
                <a:ea typeface="Open Sans ExtraBold" panose="020B0606030504020204" pitchFamily="34" charset="0"/>
                <a:cs typeface="Open Sans ExtraBold" panose="020B0606030504020204" pitchFamily="34" charset="0"/>
              </a:rPr>
              <a:t>Группа компаний «Просвещение»</a:t>
            </a:r>
          </a:p>
          <a:p>
            <a:pPr marL="0" indent="0" defTabSz="91440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400" spc="-4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дрес: </a:t>
            </a:r>
            <a:r>
              <a:rPr lang="ru-RU" sz="140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127473, г. Москва, ул. </a:t>
            </a:r>
            <a:r>
              <a:rPr lang="ru-RU" sz="1400" dirty="0" err="1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раснопролетарская</a:t>
            </a:r>
            <a:r>
              <a:rPr lang="ru-RU" sz="140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, д. 16, стр. 3, подъезд 8, бизнес-центр «Новослободский»</a:t>
            </a:r>
          </a:p>
          <a:p>
            <a:pPr marL="0" indent="0" defTabSz="914400">
              <a:lnSpc>
                <a:spcPct val="120000"/>
              </a:lnSpc>
              <a:spcBef>
                <a:spcPts val="0"/>
              </a:spcBef>
              <a:buNone/>
              <a:defRPr/>
            </a:pPr>
            <a:br>
              <a:rPr lang="ru-RU" sz="140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endParaRPr lang="ru-RU" sz="1400" spc="-40" dirty="0">
              <a:solidFill>
                <a:schemeClr val="bg1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96" name="Рисунок 24">
            <a:hlinkClick r:id="rId7"/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484" y="4731808"/>
            <a:ext cx="1097141" cy="1097141"/>
          </a:xfrm>
          <a:prstGeom prst="roundRect">
            <a:avLst>
              <a:gd name="adj" fmla="val 8808"/>
            </a:avLst>
          </a:prstGeom>
        </p:spPr>
      </p:pic>
      <p:sp>
        <p:nvSpPr>
          <p:cNvPr id="11" name="TextBox 10"/>
          <p:cNvSpPr txBox="1"/>
          <p:nvPr/>
        </p:nvSpPr>
        <p:spPr>
          <a:xfrm>
            <a:off x="7192907" y="4972602"/>
            <a:ext cx="6098582" cy="3067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spc="-4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орячая линия: </a:t>
            </a:r>
            <a:r>
              <a:rPr lang="en-US" sz="140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  <a:hlinkClick r:id="rId9"/>
              </a:rPr>
              <a:t>vopros</a:t>
            </a:r>
            <a:r>
              <a:rPr lang="ru-RU" sz="140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  <a:hlinkClick r:id="rId9"/>
              </a:rPr>
              <a:t>@</a:t>
            </a:r>
            <a:r>
              <a:rPr lang="en-US" sz="140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  <a:hlinkClick r:id="rId9"/>
              </a:rPr>
              <a:t>prosv</a:t>
            </a:r>
            <a:r>
              <a:rPr lang="ru-RU" sz="140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  <a:hlinkClick r:id="rId9"/>
              </a:rPr>
              <a:t>.</a:t>
            </a:r>
            <a:r>
              <a:rPr lang="en-US" sz="140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  <a:hlinkClick r:id="rId9"/>
              </a:rPr>
              <a:t>ru</a:t>
            </a:r>
            <a:endParaRPr lang="ru-RU" sz="14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842842" y="2511508"/>
            <a:ext cx="6096000" cy="107632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spc="150" dirty="0">
                <a:ln w="11430"/>
                <a:solidFill>
                  <a:schemeClr val="bg1"/>
                </a:solidFill>
              </a:rPr>
              <a:t>Плечова Ольга Гарриевна,</a:t>
            </a:r>
          </a:p>
          <a:p>
            <a:pPr>
              <a:defRPr/>
            </a:pPr>
            <a:r>
              <a:rPr lang="ru-RU" sz="1600" b="1" spc="150" dirty="0">
                <a:ln w="11430"/>
                <a:solidFill>
                  <a:schemeClr val="bg1"/>
                </a:solidFill>
              </a:rPr>
              <a:t>методист-эксперт ЦМПП</a:t>
            </a:r>
            <a:r>
              <a:rPr lang="en-US" sz="1600" b="1" spc="150" dirty="0">
                <a:ln w="11430"/>
                <a:solidFill>
                  <a:schemeClr val="bg1"/>
                </a:solidFill>
              </a:rPr>
              <a:t> </a:t>
            </a:r>
            <a:endParaRPr lang="ru-RU" sz="1600" b="1" spc="150" dirty="0">
              <a:ln w="11430"/>
              <a:solidFill>
                <a:schemeClr val="bg1"/>
              </a:solidFill>
            </a:endParaRPr>
          </a:p>
          <a:p>
            <a:pPr>
              <a:defRPr/>
            </a:pPr>
            <a:r>
              <a:rPr lang="ru-RU" sz="1600" b="1" spc="150" dirty="0">
                <a:ln w="11430"/>
                <a:solidFill>
                  <a:schemeClr val="bg1"/>
                </a:solidFill>
              </a:rPr>
              <a:t>телефон:+79851708839;</a:t>
            </a:r>
          </a:p>
          <a:p>
            <a:pPr>
              <a:defRPr/>
            </a:pPr>
            <a:r>
              <a:rPr lang="ru-RU" sz="1600" b="1" spc="150" dirty="0">
                <a:ln w="11430"/>
                <a:solidFill>
                  <a:schemeClr val="bg1"/>
                </a:solidFill>
              </a:rPr>
              <a:t>E-</a:t>
            </a:r>
            <a:r>
              <a:rPr lang="ru-RU" sz="1600" b="1" spc="150" dirty="0" err="1">
                <a:ln w="11430"/>
                <a:solidFill>
                  <a:schemeClr val="bg1"/>
                </a:solidFill>
              </a:rPr>
              <a:t>mail</a:t>
            </a:r>
            <a:r>
              <a:rPr lang="ru-RU" sz="1600" b="1" spc="150" dirty="0">
                <a:ln w="11430"/>
                <a:solidFill>
                  <a:schemeClr val="bg1"/>
                </a:solidFill>
              </a:rPr>
              <a:t>: </a:t>
            </a:r>
            <a:r>
              <a:rPr lang="en-US" sz="1600" b="1" spc="150" dirty="0">
                <a:ln w="11430"/>
                <a:solidFill>
                  <a:schemeClr val="bg1"/>
                </a:solidFill>
                <a:hlinkClick r:id="rId10"/>
              </a:rPr>
              <a:t>OPlechova@prosv.ru</a:t>
            </a:r>
            <a:r>
              <a:rPr lang="en-US" sz="1600" b="1" spc="150" dirty="0">
                <a:ln w="11430"/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endParaRPr lang="ru-RU" sz="12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3" name="Picture 20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01" b="26040"/>
          <a:stretch>
            <a:fillRect/>
          </a:stretch>
        </p:blipFill>
        <p:spPr bwMode="auto">
          <a:xfrm>
            <a:off x="602391" y="2318663"/>
            <a:ext cx="1168547" cy="1144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4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873318" y="144606"/>
            <a:ext cx="10029387" cy="5092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3200" b="1" dirty="0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Почему именно экологические исследования?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91" y="2204843"/>
            <a:ext cx="1601844" cy="2448272"/>
          </a:xfrm>
          <a:prstGeom prst="rect">
            <a:avLst/>
          </a:prstGeom>
          <a:noFill/>
          <a:ln w="9525">
            <a:solidFill>
              <a:srgbClr val="00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Стрелка вправо 9"/>
          <p:cNvSpPr/>
          <p:nvPr/>
        </p:nvSpPr>
        <p:spPr>
          <a:xfrm>
            <a:off x="2304309" y="3217782"/>
            <a:ext cx="1080120" cy="576064"/>
          </a:xfrm>
          <a:prstGeom prst="rightArrow">
            <a:avLst/>
          </a:prstGeom>
          <a:solidFill>
            <a:srgbClr val="008000"/>
          </a:solidFill>
          <a:ln w="25400" cap="flat">
            <a:solidFill>
              <a:srgbClr val="00800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650987" y="1770116"/>
            <a:ext cx="8381321" cy="3661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8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Личностные результаты освоения основной образовательной программы</a:t>
            </a:r>
          </a:p>
          <a:p>
            <a:pPr algn="ctr"/>
            <a:endParaRPr lang="ru-RU" sz="800" b="1" dirty="0">
              <a:solidFill>
                <a:srgbClr val="008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Print" panose="02000600000000000000" charset="0"/>
            </a:endParaRPr>
          </a:p>
          <a:p>
            <a:r>
              <a:rPr lang="ru-RU" sz="2800" dirty="0"/>
              <a:t>…формирование основ экологической культуры, соответствующей современному уровню экологического мышления, развитие опыта экологически ориентированной рефлексивно-оценочной и практической деятельности в жизненных ситуациях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37987" y="6539932"/>
            <a:ext cx="3006571" cy="153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Блок-схема: знак завершения 27"/>
          <p:cNvSpPr/>
          <p:nvPr/>
        </p:nvSpPr>
        <p:spPr>
          <a:xfrm>
            <a:off x="4983003" y="5517603"/>
            <a:ext cx="6785662" cy="917514"/>
          </a:xfrm>
          <a:prstGeom prst="flowChartTerminator">
            <a:avLst/>
          </a:prstGeom>
          <a:solidFill>
            <a:srgbClr val="CCFFCC"/>
          </a:solidFill>
          <a:ln w="3175" cap="flat">
            <a:solidFill>
              <a:schemeClr val="accent3">
                <a:lumMod val="60000"/>
                <a:lumOff val="40000"/>
              </a:schemeClr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algn="ctr" hangingPunct="0">
              <a:lnSpc>
                <a:spcPct val="130000"/>
              </a:lnSpc>
            </a:pPr>
            <a:r>
              <a:rPr lang="ru-RU" sz="1400" dirty="0">
                <a:latin typeface="Arial" panose="020B0604020202020204" pitchFamily="34" charset="0"/>
              </a:rPr>
              <a:t>Поведение в окружающей среде в соответствии с законами взаимодействия Природы и Человека, нормами морали, права.</a:t>
            </a:r>
            <a:endParaRPr lang="ru-RU" sz="1400" dirty="0">
              <a:latin typeface="Arial" panose="020B0604020202020204" pitchFamily="34" charset="0"/>
              <a:sym typeface="Helvetica"/>
            </a:endParaRPr>
          </a:p>
        </p:txBody>
      </p:sp>
      <p:sp>
        <p:nvSpPr>
          <p:cNvPr id="27" name="Блок-схема: знак завершения 26"/>
          <p:cNvSpPr/>
          <p:nvPr/>
        </p:nvSpPr>
        <p:spPr>
          <a:xfrm>
            <a:off x="5089586" y="3929783"/>
            <a:ext cx="6743333" cy="1255092"/>
          </a:xfrm>
          <a:prstGeom prst="flowChartTerminator">
            <a:avLst/>
          </a:prstGeom>
          <a:solidFill>
            <a:srgbClr val="FFCC99"/>
          </a:solidFill>
          <a:ln w="3175" cap="flat">
            <a:solidFill>
              <a:schemeClr val="accent6">
                <a:lumMod val="75000"/>
              </a:schemeClr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algn="ctr" hangingPunct="0"/>
            <a:r>
              <a:rPr lang="ru-RU" sz="1300" dirty="0">
                <a:latin typeface="Arial" panose="020B0604020202020204" pitchFamily="34" charset="0"/>
              </a:rPr>
              <a:t>Эстетическое восприятие окружающего мира; восприятие через экологическую призму общекультурных ценностей (жизнь, природа, родная земля, заповедная природа, здоровье человека, милосердие, забота о живом </a:t>
            </a:r>
            <a:endParaRPr lang="ru-RU" sz="1300" dirty="0">
              <a:latin typeface="Arial" panose="020B0604020202020204" pitchFamily="34" charset="0"/>
              <a:sym typeface="Helvetica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5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873318" y="144606"/>
            <a:ext cx="10029387" cy="4585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800" b="1" dirty="0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Что включает в себя экологическая культура?</a:t>
            </a:r>
          </a:p>
        </p:txBody>
      </p:sp>
      <p:sp>
        <p:nvSpPr>
          <p:cNvPr id="15" name="Овал 14"/>
          <p:cNvSpPr/>
          <p:nvPr/>
        </p:nvSpPr>
        <p:spPr>
          <a:xfrm>
            <a:off x="467433" y="3194527"/>
            <a:ext cx="2304256" cy="1168533"/>
          </a:xfrm>
          <a:prstGeom prst="ellipse">
            <a:avLst/>
          </a:prstGeom>
          <a:solidFill>
            <a:srgbClr val="00CC00"/>
          </a:solidFill>
          <a:ln w="3175" cap="flat">
            <a:solidFill>
              <a:srgbClr val="00800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600" b="1" i="0" u="none" strike="noStrike" cap="none" spc="0" normalizeH="0" baseline="0" dirty="0">
                <a:ln>
                  <a:noFill/>
                </a:ln>
                <a:solidFill>
                  <a:srgbClr val="0000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+mj-ea"/>
                <a:cs typeface="+mj-cs"/>
                <a:sym typeface="Helvetica"/>
              </a:rPr>
              <a:t>Экологическая культура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 flipV="1">
            <a:off x="2010014" y="1966147"/>
            <a:ext cx="854078" cy="1121954"/>
          </a:xfrm>
          <a:prstGeom prst="line">
            <a:avLst/>
          </a:prstGeom>
          <a:noFill/>
          <a:ln w="25400" cap="flat">
            <a:solidFill>
              <a:srgbClr val="00800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" name="Прямая соединительная линия 16"/>
          <p:cNvCxnSpPr/>
          <p:nvPr/>
        </p:nvCxnSpPr>
        <p:spPr>
          <a:xfrm flipV="1">
            <a:off x="2728364" y="3194527"/>
            <a:ext cx="947301" cy="288034"/>
          </a:xfrm>
          <a:prstGeom prst="line">
            <a:avLst/>
          </a:prstGeom>
          <a:noFill/>
          <a:ln w="25400" cap="flat">
            <a:solidFill>
              <a:srgbClr val="00800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2771689" y="4075028"/>
            <a:ext cx="716797" cy="576064"/>
          </a:xfrm>
          <a:prstGeom prst="line">
            <a:avLst/>
          </a:prstGeom>
          <a:noFill/>
          <a:ln w="25400" cap="flat">
            <a:solidFill>
              <a:srgbClr val="00800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1673213" y="4464195"/>
            <a:ext cx="654995" cy="1254739"/>
          </a:xfrm>
          <a:prstGeom prst="line">
            <a:avLst/>
          </a:prstGeom>
          <a:noFill/>
          <a:ln w="25400" cap="flat">
            <a:solidFill>
              <a:srgbClr val="00800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Скругленный прямоугольник 19"/>
          <p:cNvSpPr/>
          <p:nvPr/>
        </p:nvSpPr>
        <p:spPr>
          <a:xfrm>
            <a:off x="2331531" y="5713667"/>
            <a:ext cx="2808312" cy="646981"/>
          </a:xfrm>
          <a:prstGeom prst="roundRect">
            <a:avLst/>
          </a:prstGeom>
          <a:solidFill>
            <a:srgbClr val="CCFFCC">
              <a:alpha val="43000"/>
            </a:srgbClr>
          </a:solidFill>
          <a:ln w="3175" cap="flat">
            <a:solidFill>
              <a:schemeClr val="accent3">
                <a:lumMod val="60000"/>
                <a:lumOff val="40000"/>
              </a:schemeClr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600" b="1" i="0" u="none" strike="noStrike" cap="none" spc="0" normalizeH="0" baseline="0" dirty="0">
                <a:ln>
                  <a:noFill/>
                </a:ln>
                <a:solidFill>
                  <a:srgbClr val="000066"/>
                </a:solidFill>
                <a:uFillTx/>
                <a:latin typeface="+mj-lt"/>
                <a:ea typeface="+mj-ea"/>
                <a:cs typeface="+mj-cs"/>
                <a:sym typeface="Helvetica"/>
              </a:rPr>
              <a:t>Экологически оправданное поведение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351326" y="4274795"/>
            <a:ext cx="2079517" cy="646981"/>
          </a:xfrm>
          <a:prstGeom prst="roundRect">
            <a:avLst/>
          </a:prstGeom>
          <a:solidFill>
            <a:srgbClr val="FFCC99">
              <a:alpha val="55000"/>
            </a:srgbClr>
          </a:solidFill>
          <a:ln w="3175" cap="flat">
            <a:solidFill>
              <a:schemeClr val="accent6">
                <a:lumMod val="75000"/>
              </a:schemeClr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ru-RU" sz="1600" b="1" dirty="0">
                <a:solidFill>
                  <a:srgbClr val="000066"/>
                </a:solidFill>
              </a:rPr>
              <a:t>Ценностная 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ru-RU" sz="1600" b="1" dirty="0">
                <a:solidFill>
                  <a:srgbClr val="000066"/>
                </a:solidFill>
              </a:rPr>
              <a:t>ориентация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735687" y="2647825"/>
            <a:ext cx="1994186" cy="646981"/>
          </a:xfrm>
          <a:prstGeom prst="roundRect">
            <a:avLst/>
          </a:prstGeom>
          <a:solidFill>
            <a:srgbClr val="99CCFF"/>
          </a:solidFill>
          <a:ln w="3175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algn="ctr"/>
            <a:r>
              <a:rPr lang="ru-RU" sz="1600" b="1" dirty="0">
                <a:solidFill>
                  <a:srgbClr val="000066"/>
                </a:solidFill>
              </a:rPr>
              <a:t>Экологическое </a:t>
            </a:r>
          </a:p>
          <a:p>
            <a:pPr algn="ctr"/>
            <a:r>
              <a:rPr lang="ru-RU" sz="1600" b="1" dirty="0">
                <a:solidFill>
                  <a:srgbClr val="000066"/>
                </a:solidFill>
              </a:rPr>
              <a:t>мышление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2986577" y="1248815"/>
            <a:ext cx="2444576" cy="646981"/>
          </a:xfrm>
          <a:prstGeom prst="roundRect">
            <a:avLst/>
          </a:prstGeom>
          <a:solidFill>
            <a:srgbClr val="FF99CC"/>
          </a:solidFill>
          <a:ln w="3175" cap="flat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33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algn="ctr"/>
            <a:r>
              <a:rPr lang="ru-RU" sz="1600" b="1" dirty="0">
                <a:solidFill>
                  <a:srgbClr val="000066"/>
                </a:solidFill>
              </a:rPr>
              <a:t>Экологические </a:t>
            </a:r>
          </a:p>
          <a:p>
            <a:pPr algn="ctr"/>
            <a:r>
              <a:rPr lang="ru-RU" sz="1600" b="1" dirty="0">
                <a:solidFill>
                  <a:srgbClr val="000066"/>
                </a:solidFill>
              </a:rPr>
              <a:t>знания</a:t>
            </a:r>
          </a:p>
        </p:txBody>
      </p:sp>
      <p:sp>
        <p:nvSpPr>
          <p:cNvPr id="25" name="Блок-схема: знак завершения 24"/>
          <p:cNvSpPr/>
          <p:nvPr/>
        </p:nvSpPr>
        <p:spPr>
          <a:xfrm>
            <a:off x="5236256" y="1178465"/>
            <a:ext cx="6532409" cy="787682"/>
          </a:xfrm>
          <a:prstGeom prst="flowChartTerminator">
            <a:avLst/>
          </a:prstGeom>
          <a:solidFill>
            <a:srgbClr val="FF33CC">
              <a:alpha val="39000"/>
            </a:srgbClr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sym typeface="Helvetica"/>
              </a:rPr>
              <a:t>Отражение в сознании обучающихся взаимосвязи и взаимозависимости между Человеком</a:t>
            </a:r>
            <a:r>
              <a:rPr kumimoji="0" lang="ru-RU" sz="14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sym typeface="Helvetica"/>
              </a:rPr>
              <a:t> и Природой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sym typeface="Helvetica"/>
            </a:endParaRPr>
          </a:p>
        </p:txBody>
      </p:sp>
      <p:sp>
        <p:nvSpPr>
          <p:cNvPr id="26" name="Блок-схема: знак завершения 25"/>
          <p:cNvSpPr/>
          <p:nvPr/>
        </p:nvSpPr>
        <p:spPr>
          <a:xfrm>
            <a:off x="5431153" y="2582908"/>
            <a:ext cx="6337512" cy="731419"/>
          </a:xfrm>
          <a:prstGeom prst="flowChartTerminator">
            <a:avLst/>
          </a:prstGeom>
          <a:solidFill>
            <a:srgbClr val="0099FF">
              <a:alpha val="38824"/>
            </a:srgbClr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ru-RU" sz="1300" dirty="0">
                <a:latin typeface="Arial" panose="020B0604020202020204" pitchFamily="34" charset="0"/>
              </a:rPr>
              <a:t>Прогнозирование последствий того или иного вмешательства Человека в жизнь природы</a:t>
            </a:r>
            <a:endParaRPr kumimoji="0" lang="ru-RU" sz="13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sym typeface="Helvetica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37987" y="6539932"/>
            <a:ext cx="3006571" cy="153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6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24"/>
          <p:cNvSpPr txBox="1"/>
          <p:nvPr/>
        </p:nvSpPr>
        <p:spPr>
          <a:xfrm>
            <a:off x="1956355" y="143405"/>
            <a:ext cx="9058275" cy="40934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5000"/>
              </a:lnSpc>
            </a:pPr>
            <a:r>
              <a:rPr lang="ru-RU" altLang="en-GB" sz="2800" b="1" noProof="1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От теории к практике</a:t>
            </a:r>
          </a:p>
        </p:txBody>
      </p:sp>
      <p:pic>
        <p:nvPicPr>
          <p:cNvPr id="23040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0069" y="988818"/>
            <a:ext cx="5080131" cy="522571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3040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255" y="835025"/>
            <a:ext cx="5085946" cy="322136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3040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6355" y="3974572"/>
            <a:ext cx="5191017" cy="248549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188" y="4395057"/>
            <a:ext cx="1378084" cy="1921078"/>
          </a:xfrm>
          <a:prstGeom prst="rect">
            <a:avLst/>
          </a:prstGeom>
          <a:ln w="12700">
            <a:solidFill>
              <a:schemeClr val="bg1">
                <a:lumMod val="85000"/>
              </a:schemeClr>
            </a:solidFill>
          </a:ln>
          <a:effectLst/>
        </p:spPr>
      </p:pic>
      <p:sp>
        <p:nvSpPr>
          <p:cNvPr id="3" name="Прямоугольник 2"/>
          <p:cNvSpPr/>
          <p:nvPr/>
        </p:nvSpPr>
        <p:spPr>
          <a:xfrm>
            <a:off x="137987" y="6539932"/>
            <a:ext cx="3006571" cy="153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7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24"/>
          <p:cNvSpPr txBox="1"/>
          <p:nvPr/>
        </p:nvSpPr>
        <p:spPr>
          <a:xfrm>
            <a:off x="1956355" y="143405"/>
            <a:ext cx="9058275" cy="40934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5000"/>
              </a:lnSpc>
            </a:pPr>
            <a:r>
              <a:rPr lang="ru-RU" altLang="en-GB" sz="2800" b="1" noProof="1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От теории к практике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188" y="4395057"/>
            <a:ext cx="1378084" cy="1921078"/>
          </a:xfrm>
          <a:prstGeom prst="rect">
            <a:avLst/>
          </a:prstGeom>
          <a:ln w="12700">
            <a:solidFill>
              <a:schemeClr val="bg1">
                <a:lumMod val="85000"/>
              </a:schemeClr>
            </a:solidFill>
          </a:ln>
          <a:effectLst/>
        </p:spPr>
      </p:pic>
      <p:pic>
        <p:nvPicPr>
          <p:cNvPr id="2314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1339" y="870482"/>
            <a:ext cx="4202542" cy="397245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314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9037" y="870479"/>
            <a:ext cx="4503882" cy="388778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3142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0117" y="3128335"/>
            <a:ext cx="5004328" cy="356548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37987" y="6539932"/>
            <a:ext cx="3006571" cy="153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8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24"/>
          <p:cNvSpPr txBox="1"/>
          <p:nvPr/>
        </p:nvSpPr>
        <p:spPr>
          <a:xfrm>
            <a:off x="1956355" y="143405"/>
            <a:ext cx="9058275" cy="40934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5000"/>
              </a:lnSpc>
            </a:pPr>
            <a:r>
              <a:rPr lang="ru-RU" altLang="en-GB" sz="2800" b="1" noProof="1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От теории к практике</a:t>
            </a: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565" y="4038182"/>
            <a:ext cx="1559501" cy="2160718"/>
          </a:xfrm>
          <a:prstGeom prst="rect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398" y="1035504"/>
            <a:ext cx="7931020" cy="250598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1906" y="4038182"/>
            <a:ext cx="8338904" cy="246580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37987" y="6539932"/>
            <a:ext cx="3006571" cy="153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ea typeface="+mn-ea"/>
                <a:cs typeface="+mn-cs"/>
              </a:rPr>
              <a:t>9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24"/>
          <p:cNvSpPr txBox="1"/>
          <p:nvPr/>
        </p:nvSpPr>
        <p:spPr>
          <a:xfrm>
            <a:off x="1956355" y="143405"/>
            <a:ext cx="9058275" cy="40934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5000"/>
              </a:lnSpc>
            </a:pPr>
            <a:r>
              <a:rPr lang="ru-RU" altLang="en-GB" sz="2800" b="1" noProof="1">
                <a:solidFill>
                  <a:srgbClr val="2D2B8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От теории к практике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4"/>
          <a:srcRect l="35431" t="19900" r="36613" b="57000"/>
          <a:stretch>
            <a:fillRect/>
          </a:stretch>
        </p:blipFill>
        <p:spPr>
          <a:xfrm>
            <a:off x="962637" y="932885"/>
            <a:ext cx="5636980" cy="2620005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5"/>
          <a:srcRect l="36613" t="15001" r="36219" b="40900"/>
          <a:stretch>
            <a:fillRect/>
          </a:stretch>
        </p:blipFill>
        <p:spPr>
          <a:xfrm>
            <a:off x="6864367" y="1284638"/>
            <a:ext cx="4968552" cy="4536504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6"/>
          <a:srcRect l="37006" t="45800" r="36219" b="28300"/>
          <a:stretch>
            <a:fillRect/>
          </a:stretch>
        </p:blipFill>
        <p:spPr>
          <a:xfrm>
            <a:off x="2359042" y="4081360"/>
            <a:ext cx="4126450" cy="2245274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695" y="4254054"/>
            <a:ext cx="1517060" cy="2072580"/>
          </a:xfrm>
          <a:prstGeom prst="rect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sp>
        <p:nvSpPr>
          <p:cNvPr id="3" name="Прямоугольник 2"/>
          <p:cNvSpPr/>
          <p:nvPr/>
        </p:nvSpPr>
        <p:spPr>
          <a:xfrm>
            <a:off x="137987" y="6539932"/>
            <a:ext cx="3006571" cy="153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04</Words>
  <Application>Microsoft Office PowerPoint</Application>
  <PresentationFormat>Widescreen</PresentationFormat>
  <Paragraphs>573</Paragraphs>
  <Slides>38</Slides>
  <Notes>3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39" baseType="lpstr">
      <vt:lpstr>Тема Off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Объекты исследования для тех, кто постарше</vt:lpstr>
      <vt:lpstr>Методы определения различных показателей качества воды</vt:lpstr>
      <vt:lpstr>Методы определения различных показателей качества воды</vt:lpstr>
      <vt:lpstr>Методы определения различных показателей качества воды</vt:lpstr>
      <vt:lpstr>Показатели санитарного состояния почвы</vt:lpstr>
      <vt:lpstr>Показатели биологической активности почвы</vt:lpstr>
      <vt:lpstr>Оценка чистоты почвы по санитарному числу</vt:lpstr>
      <vt:lpstr>Методы анализа пестицидов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рачева Екатерина Андреевна</dc:creator>
  <cp:lastModifiedBy>user</cp:lastModifiedBy>
  <cp:revision>913</cp:revision>
  <cp:lastPrinted>2021-03-10T11:05:00Z</cp:lastPrinted>
  <dcterms:created xsi:type="dcterms:W3CDTF">2020-02-25T09:30:00Z</dcterms:created>
  <dcterms:modified xsi:type="dcterms:W3CDTF">2022-10-17T10:3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B9E1077AF80F4ABC8956C24ED22B7D65</vt:lpwstr>
  </property>
  <property fmtid="{D5CDD505-2E9C-101B-9397-08002B2CF9AE}" pid="3" name="KSOProductBuildVer">
    <vt:lpwstr>1049-11.2.0.11306</vt:lpwstr>
  </property>
</Properties>
</file>